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theme/theme3.xml" ContentType="application/vnd.openxmlformats-officedocument.theme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theme/theme4.xml" ContentType="application/vnd.openxmlformats-officedocument.theme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theme/theme5.xml" ContentType="application/vnd.openxmlformats-officedocument.theme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drawings/drawing1.xml" ContentType="application/vnd.openxmlformats-officedocument.drawingml.chartshapes+xml"/>
  <Override PartName="/ppt/notesSlides/notesSlide4.xml" ContentType="application/vnd.openxmlformats-officedocument.presentationml.notesSlide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notesSlides/notesSlide5.xml" ContentType="application/vnd.openxmlformats-officedocument.presentationml.notesSlide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notesSlides/notesSlide6.xml" ContentType="application/vnd.openxmlformats-officedocument.presentationml.notesSlide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notesSlides/notesSlide7.xml" ContentType="application/vnd.openxmlformats-officedocument.presentationml.notesSlide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9" r:id="rId4"/>
    <p:sldMasterId id="2147483784" r:id="rId5"/>
    <p:sldMasterId id="2147483965" r:id="rId6"/>
    <p:sldMasterId id="2147484067" r:id="rId7"/>
    <p:sldMasterId id="2147484166" r:id="rId8"/>
  </p:sldMasterIdLst>
  <p:notesMasterIdLst>
    <p:notesMasterId r:id="rId17"/>
  </p:notesMasterIdLst>
  <p:handoutMasterIdLst>
    <p:handoutMasterId r:id="rId18"/>
  </p:handoutMasterIdLst>
  <p:sldIdLst>
    <p:sldId id="5143" r:id="rId9"/>
    <p:sldId id="4311" r:id="rId10"/>
    <p:sldId id="602" r:id="rId11"/>
    <p:sldId id="5150" r:id="rId12"/>
    <p:sldId id="5140" r:id="rId13"/>
    <p:sldId id="5149" r:id="rId14"/>
    <p:sldId id="5138" r:id="rId15"/>
    <p:sldId id="5147" r:id="rId16"/>
  </p:sldIdLst>
  <p:sldSz cx="12192000" cy="6858000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865" userDrawn="1">
          <p15:clr>
            <a:srgbClr val="A4A3A4"/>
          </p15:clr>
        </p15:guide>
        <p15:guide id="2" pos="4407" userDrawn="1">
          <p15:clr>
            <a:srgbClr val="A4A3A4"/>
          </p15:clr>
        </p15:guide>
        <p15:guide id="3" pos="7423" userDrawn="1">
          <p15:clr>
            <a:srgbClr val="A4A3A4"/>
          </p15:clr>
        </p15:guide>
        <p15:guide id="5" pos="325" userDrawn="1">
          <p15:clr>
            <a:srgbClr val="A4A3A4"/>
          </p15:clr>
        </p15:guide>
        <p15:guide id="6" orient="horz" pos="436" userDrawn="1">
          <p15:clr>
            <a:srgbClr val="A4A3A4"/>
          </p15:clr>
        </p15:guide>
        <p15:guide id="7" orient="horz" pos="2636" userDrawn="1">
          <p15:clr>
            <a:srgbClr val="A4A3A4"/>
          </p15:clr>
        </p15:guide>
        <p15:guide id="8" orient="horz" pos="4088" userDrawn="1">
          <p15:clr>
            <a:srgbClr val="A4A3A4"/>
          </p15:clr>
        </p15:guide>
        <p15:guide id="9" orient="horz" pos="1003" userDrawn="1">
          <p15:clr>
            <a:srgbClr val="A4A3A4"/>
          </p15:clr>
        </p15:guide>
        <p15:guide id="10" orient="horz" pos="3793" userDrawn="1">
          <p15:clr>
            <a:srgbClr val="A4A3A4"/>
          </p15:clr>
        </p15:guide>
        <p15:guide id="11" orient="horz" pos="1389" userDrawn="1">
          <p15:clr>
            <a:srgbClr val="A4A3A4"/>
          </p15:clr>
        </p15:guide>
        <p15:guide id="12" orient="horz" pos="1593" userDrawn="1">
          <p15:clr>
            <a:srgbClr val="A4A3A4"/>
          </p15:clr>
        </p15:guide>
        <p15:guide id="13" orient="horz" pos="572" userDrawn="1">
          <p15:clr>
            <a:srgbClr val="A4A3A4"/>
          </p15:clr>
        </p15:guide>
        <p15:guide id="14" orient="horz" pos="1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Isabelle Fortin" initials="IF" lastIdx="22" clrIdx="6">
    <p:extLst>
      <p:ext uri="{19B8F6BF-5375-455C-9EA6-DF929625EA0E}">
        <p15:presenceInfo xmlns:p15="http://schemas.microsoft.com/office/powerpoint/2012/main" userId="S::Isabelle.Fortin@ipsos.com::b6fca087-fcfe-4b58-91f9-4f8cc5c93bdc" providerId="AD"/>
      </p:ext>
    </p:extLst>
  </p:cmAuthor>
  <p:cmAuthor id="1" name="Shaun Dix" initials="SD" lastIdx="23" clrIdx="0">
    <p:extLst>
      <p:ext uri="{19B8F6BF-5375-455C-9EA6-DF929625EA0E}">
        <p15:presenceInfo xmlns:p15="http://schemas.microsoft.com/office/powerpoint/2012/main" userId="S-1-5-21-3343930222-3471731563-1258133589-337755" providerId="AD"/>
      </p:ext>
    </p:extLst>
  </p:cmAuthor>
  <p:cmAuthor id="8" name="Tessa Balka" initials="TB" lastIdx="7" clrIdx="7">
    <p:extLst>
      <p:ext uri="{19B8F6BF-5375-455C-9EA6-DF929625EA0E}">
        <p15:presenceInfo xmlns:p15="http://schemas.microsoft.com/office/powerpoint/2012/main" userId="S::Tessa.Balka@ipsos.com::5d63b61f-3262-420a-a872-95cbc3a31456" providerId="AD"/>
      </p:ext>
    </p:extLst>
  </p:cmAuthor>
  <p:cmAuthor id="2" name="Arnaud Debia" initials="AD" lastIdx="17" clrIdx="1">
    <p:extLst>
      <p:ext uri="{19B8F6BF-5375-455C-9EA6-DF929625EA0E}">
        <p15:presenceInfo xmlns:p15="http://schemas.microsoft.com/office/powerpoint/2012/main" userId="S-1-5-21-3343930222-3471731563-1258133589-334052" providerId="AD"/>
      </p:ext>
    </p:extLst>
  </p:cmAuthor>
  <p:cmAuthor id="3" name="Gaurava Singh" initials="GS" lastIdx="2" clrIdx="2">
    <p:extLst>
      <p:ext uri="{19B8F6BF-5375-455C-9EA6-DF929625EA0E}">
        <p15:presenceInfo xmlns:p15="http://schemas.microsoft.com/office/powerpoint/2012/main" userId="S::gaurava.singh@ipsos.com::fd6d8f51-0423-4268-b362-09315de23637" providerId="AD"/>
      </p:ext>
    </p:extLst>
  </p:cmAuthor>
  <p:cmAuthor id="4" name="Diana Livadic" initials="DL" lastIdx="5" clrIdx="3">
    <p:extLst>
      <p:ext uri="{19B8F6BF-5375-455C-9EA6-DF929625EA0E}">
        <p15:presenceInfo xmlns:p15="http://schemas.microsoft.com/office/powerpoint/2012/main" userId="S::diana.livadic@Ipsos.com::078cec2f-70cf-4b6d-ba23-b3ef373f5bb6" providerId="AD"/>
      </p:ext>
    </p:extLst>
  </p:cmAuthor>
  <p:cmAuthor id="5" name="Adam Sheridan" initials="AS" lastIdx="35" clrIdx="4">
    <p:extLst>
      <p:ext uri="{19B8F6BF-5375-455C-9EA6-DF929625EA0E}">
        <p15:presenceInfo xmlns:p15="http://schemas.microsoft.com/office/powerpoint/2012/main" userId="S::adam.sheridan@Ipsos.com::dc5ccf35-d543-4d42-b68a-4303521e1bef" providerId="AD"/>
      </p:ext>
    </p:extLst>
  </p:cmAuthor>
  <p:cmAuthor id="6" name="Shaun Dix" initials="SD [2]" lastIdx="20" clrIdx="5">
    <p:extLst>
      <p:ext uri="{19B8F6BF-5375-455C-9EA6-DF929625EA0E}">
        <p15:presenceInfo xmlns:p15="http://schemas.microsoft.com/office/powerpoint/2012/main" userId="S::shaun.dix@Ipsos.com::62adc66a-1c58-4ad5-b3d7-29399aa24ff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554"/>
    <a:srgbClr val="FF5050"/>
    <a:srgbClr val="FF99FF"/>
    <a:srgbClr val="7030A0"/>
    <a:srgbClr val="2F469C"/>
    <a:srgbClr val="BE75D2"/>
    <a:srgbClr val="BEDBFF"/>
    <a:srgbClr val="575757"/>
    <a:srgbClr val="FFFFFF"/>
    <a:srgbClr val="6DAE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31" autoAdjust="0"/>
    <p:restoredTop sz="70402" autoAdjust="0"/>
  </p:normalViewPr>
  <p:slideViewPr>
    <p:cSldViewPr snapToGrid="0">
      <p:cViewPr varScale="1">
        <p:scale>
          <a:sx n="76" d="100"/>
          <a:sy n="76" d="100"/>
        </p:scale>
        <p:origin x="1872" y="96"/>
      </p:cViewPr>
      <p:guideLst>
        <p:guide orient="horz" pos="1865"/>
        <p:guide pos="4407"/>
        <p:guide pos="7423"/>
        <p:guide pos="325"/>
        <p:guide orient="horz" pos="436"/>
        <p:guide orient="horz" pos="2636"/>
        <p:guide orient="horz" pos="4088"/>
        <p:guide orient="horz" pos="1003"/>
        <p:guide orient="horz" pos="3793"/>
        <p:guide orient="horz" pos="1389"/>
        <p:guide orient="horz" pos="1593"/>
        <p:guide orient="horz" pos="572"/>
        <p:guide orient="horz" pos="14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2886" y="114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tableStyles" Target="tableStyles.xml"/><Relationship Id="rId10" Type="http://schemas.openxmlformats.org/officeDocument/2006/relationships/slide" Target="slides/slide2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7.0775493382451593E-2"/>
          <c:w val="1"/>
          <c:h val="0.5341337131941834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33CCFF"/>
            </a:solidFill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1-0C7A-4492-9F97-F3FDDFF0D16B}"/>
              </c:ext>
            </c:extLst>
          </c:dPt>
          <c:dPt>
            <c:idx val="1"/>
            <c:invertIfNegative val="0"/>
            <c:bubble3D val="0"/>
            <c:spPr>
              <a:solidFill>
                <a:srgbClr val="2F46A0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3-0C7A-4492-9F97-F3FDDFF0D16B}"/>
              </c:ext>
            </c:extLst>
          </c:dPt>
          <c:dPt>
            <c:idx val="2"/>
            <c:invertIfNegative val="0"/>
            <c:bubble3D val="0"/>
            <c:spPr>
              <a:solidFill>
                <a:srgbClr val="2F46A0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5-0C7A-4492-9F97-F3FDDFF0D16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anchor="ctr" anchorCtr="0"/>
              <a:lstStyle/>
              <a:p>
                <a:pPr>
                  <a:defRPr sz="1200" b="1">
                    <a:solidFill>
                      <a:schemeClr val="tx1"/>
                    </a:solidFill>
                    <a:effectLst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Low emotion</c:v>
                </c:pt>
                <c:pt idx="1">
                  <c:v>Moderate emotion</c:v>
                </c:pt>
                <c:pt idx="2">
                  <c:v>High emotion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00</c:v>
                </c:pt>
                <c:pt idx="1">
                  <c:v>131</c:v>
                </c:pt>
                <c:pt idx="2">
                  <c:v>1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C7A-4492-9F97-F3FDDFF0D1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8"/>
        <c:axId val="40682624"/>
        <c:axId val="40684160"/>
      </c:barChart>
      <c:catAx>
        <c:axId val="4068262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>
            <a:noFill/>
          </a:ln>
        </c:spPr>
        <c:txPr>
          <a:bodyPr/>
          <a:lstStyle/>
          <a:p>
            <a:pPr>
              <a:defRPr sz="1400" b="1">
                <a:solidFill>
                  <a:schemeClr val="tx1"/>
                </a:solidFill>
              </a:defRPr>
            </a:pPr>
            <a:endParaRPr lang="en-US"/>
          </a:p>
        </c:txPr>
        <c:crossAx val="40684160"/>
        <c:crosses val="autoZero"/>
        <c:auto val="1"/>
        <c:lblAlgn val="ctr"/>
        <c:lblOffset val="100"/>
        <c:noMultiLvlLbl val="0"/>
      </c:catAx>
      <c:valAx>
        <c:axId val="40684160"/>
        <c:scaling>
          <c:orientation val="minMax"/>
          <c:max val="250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0682624"/>
        <c:crosses val="autoZero"/>
        <c:crossBetween val="between"/>
      </c:valAx>
      <c:spPr>
        <a:noFill/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814949573504165E-2"/>
          <c:y val="0"/>
          <c:w val="0.93894940035902441"/>
          <c:h val="1"/>
        </c:manualLayout>
      </c:layout>
      <c:doughnutChart>
        <c:varyColors val="1"/>
        <c:ser>
          <c:idx val="0"/>
          <c:order val="0"/>
          <c:tx>
            <c:strRef>
              <c:f>Sheet1!$A$2</c:f>
              <c:strCache>
                <c:ptCount val="1"/>
                <c:pt idx="0">
                  <c:v>East</c:v>
                </c:pt>
              </c:strCache>
            </c:strRef>
          </c:tx>
          <c:spPr>
            <a:solidFill>
              <a:schemeClr val="accent1"/>
            </a:solidFill>
            <a:ln w="12700">
              <a:noFill/>
              <a:prstDash val="solid"/>
            </a:ln>
          </c:spPr>
          <c:dPt>
            <c:idx val="0"/>
            <c:bubble3D val="0"/>
            <c:spPr>
              <a:noFill/>
              <a:ln w="12700">
                <a:noFill/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A71E-DB4B-A413-4775BD0BA0E6}"/>
              </c:ext>
            </c:extLst>
          </c:dPt>
          <c:dPt>
            <c:idx val="1"/>
            <c:bubble3D val="0"/>
            <c:spPr>
              <a:solidFill>
                <a:schemeClr val="bg2"/>
              </a:solidFill>
              <a:ln w="12700">
                <a:noFill/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A71E-DB4B-A413-4775BD0BA0E6}"/>
              </c:ext>
            </c:extLst>
          </c:dPt>
          <c:dPt>
            <c:idx val="2"/>
            <c:bubble3D val="0"/>
            <c:spPr>
              <a:solidFill>
                <a:schemeClr val="bg1">
                  <a:lumMod val="95000"/>
                </a:schemeClr>
              </a:solidFill>
              <a:ln w="12700">
                <a:noFill/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A71E-DB4B-A413-4775BD0BA0E6}"/>
              </c:ext>
            </c:extLst>
          </c:dPt>
          <c:cat>
            <c:strRef>
              <c:f>Sheet1!$B$1:$D$1</c:f>
              <c:strCache>
                <c:ptCount val="3"/>
                <c:pt idx="0">
                  <c:v>HIDDEN Bottom</c:v>
                </c:pt>
                <c:pt idx="1">
                  <c:v>Main Percentage</c:v>
                </c:pt>
                <c:pt idx="2">
                  <c:v>Remain</c:v>
                </c:pt>
              </c:strCache>
            </c:strRef>
          </c:cat>
          <c:val>
            <c:numRef>
              <c:f>Sheet1!$B$2:$D$2</c:f>
              <c:numCache>
                <c:formatCode>0%</c:formatCode>
                <c:ptCount val="3"/>
                <c:pt idx="0">
                  <c:v>1</c:v>
                </c:pt>
                <c:pt idx="1">
                  <c:v>0.5</c:v>
                </c:pt>
                <c:pt idx="2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71E-DB4B-A413-4775BD0BA0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90"/>
        <c:holeSize val="64"/>
      </c:doughnutChart>
      <c:spPr>
        <a:noFill/>
        <a:ln w="12700">
          <a:noFill/>
          <a:prstDash val="solid"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2550" b="1" i="0" u="none" strike="noStrike" baseline="0">
          <a:solidFill>
            <a:schemeClr val="tx1"/>
          </a:solidFill>
          <a:latin typeface="AvantGarde MdCn BT" panose="020B0506020202020204" pitchFamily="34" charset="0"/>
          <a:ea typeface="Calibri"/>
          <a:cs typeface="Calibri"/>
        </a:defRPr>
      </a:pPr>
      <a:endParaRPr lang="en-US"/>
    </a:p>
  </c:txPr>
  <c:externalData r:id="rId1">
    <c:autoUpdate val="0"/>
  </c:externalData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4299</cdr:x>
      <cdr:y>0.3095</cdr:y>
    </cdr:from>
    <cdr:to>
      <cdr:x>0.80992</cdr:x>
      <cdr:y>0.49468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301005" y="334293"/>
          <a:ext cx="702295" cy="20002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 anchor="b"/>
        <a:lstStyle xmlns:a="http://schemas.openxmlformats.org/drawingml/2006/main"/>
        <a:p xmlns:a="http://schemas.openxmlformats.org/drawingml/2006/main">
          <a:endParaRPr lang="en-GB" sz="1100" dirty="0">
            <a:latin typeface="Arial" panose="020B0604020202020204" pitchFamily="34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DC27B7BF-1DCB-492F-8C9A-8893167CD75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8CB6740-03DA-4B62-BE4D-646A10AD08E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98FFF2-4D6C-4DC1-893F-5AF9F68BC14E}" type="datetimeFigureOut">
              <a:rPr lang="en-US" smtClean="0"/>
              <a:t>9/17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150ED23-11E4-4BA4-9642-250E06AC3E5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F8C12A-281D-4028-9B43-837E8C7FA82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AA4BA3-4AF3-435C-A1CD-7F56A157C4C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56486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DA8217-EC77-A84B-94FD-C0DF400C9509}" type="datetimeFigureOut">
              <a:rPr lang="en-US" smtClean="0"/>
              <a:t>9/17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53D4DD9-29A4-2140-92E4-60470FA2354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051390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8578AD-0529-46A5-84EB-6338160D5A7D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14826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3D4DD9-29A4-2140-92E4-60470FA23544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15973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3D4DD9-29A4-2140-92E4-60470FA23544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32211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AU" dirty="0"/>
              <a:t>In the interest of time I’m not going to play this ad, but will provide a link in the pack if you haven’t seen it, but here’s a recent example of a piece of creative for budget direct that definitely combines these element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3D4DD9-29A4-2140-92E4-60470FA23544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96456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 algn="l">
              <a:defRPr/>
            </a:pPr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8578AD-0529-46A5-84EB-6338160D5A7D}" type="slidenum"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60184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763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8578AD-0529-46A5-84EB-6338160D5A7D}" type="slidenum"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0292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763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8578AD-0529-46A5-84EB-6338160D5A7D}" type="slidenum"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080779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 algn="l">
              <a:defRPr/>
            </a:pPr>
            <a:r>
              <a:rPr lang="en-GB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o to</a:t>
            </a:r>
            <a:endParaRPr lang="en-GB" dirty="0">
              <a:solidFill>
                <a:srgbClr val="3C3C3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B8578AD-0529-46A5-84EB-6338160D5A7D}" type="slidenum"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3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462012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6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11.jpe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9.png"/></Relationships>
</file>

<file path=ppt/slideLayouts/_rels/slideLayout1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71.xml"/><Relationship Id="rId7" Type="http://schemas.openxmlformats.org/officeDocument/2006/relationships/image" Target="../media/image1.emf"/><Relationship Id="rId2" Type="http://schemas.openxmlformats.org/officeDocument/2006/relationships/tags" Target="../tags/tag170.xml"/><Relationship Id="rId1" Type="http://schemas.openxmlformats.org/officeDocument/2006/relationships/vmlDrawing" Target="../drawings/vmlDrawing88.vml"/><Relationship Id="rId6" Type="http://schemas.openxmlformats.org/officeDocument/2006/relationships/oleObject" Target="../embeddings/oleObject24.bin"/><Relationship Id="rId5" Type="http://schemas.openxmlformats.org/officeDocument/2006/relationships/image" Target="../media/image11.jpeg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6.png"/></Relationships>
</file>

<file path=ppt/slideLayouts/_rels/slideLayout1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73.xml"/><Relationship Id="rId7" Type="http://schemas.openxmlformats.org/officeDocument/2006/relationships/image" Target="../media/image1.emf"/><Relationship Id="rId2" Type="http://schemas.openxmlformats.org/officeDocument/2006/relationships/tags" Target="../tags/tag172.xml"/><Relationship Id="rId1" Type="http://schemas.openxmlformats.org/officeDocument/2006/relationships/vmlDrawing" Target="../drawings/vmlDrawing89.vml"/><Relationship Id="rId6" Type="http://schemas.openxmlformats.org/officeDocument/2006/relationships/oleObject" Target="../embeddings/oleObject25.bin"/><Relationship Id="rId5" Type="http://schemas.openxmlformats.org/officeDocument/2006/relationships/image" Target="../media/image4.jpeg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6.png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tags" Target="../tags/tag176.xml"/><Relationship Id="rId7" Type="http://schemas.openxmlformats.org/officeDocument/2006/relationships/image" Target="../media/image2.png"/><Relationship Id="rId2" Type="http://schemas.openxmlformats.org/officeDocument/2006/relationships/tags" Target="../tags/tag175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tags" Target="../tags/tag178.xml"/><Relationship Id="rId7" Type="http://schemas.openxmlformats.org/officeDocument/2006/relationships/image" Target="../media/image12.png"/><Relationship Id="rId2" Type="http://schemas.openxmlformats.org/officeDocument/2006/relationships/tags" Target="../tags/tag177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80.xml"/><Relationship Id="rId7" Type="http://schemas.openxmlformats.org/officeDocument/2006/relationships/image" Target="../media/image1.emf"/><Relationship Id="rId2" Type="http://schemas.openxmlformats.org/officeDocument/2006/relationships/tags" Target="../tags/tag179.xml"/><Relationship Id="rId1" Type="http://schemas.openxmlformats.org/officeDocument/2006/relationships/vmlDrawing" Target="../drawings/vmlDrawing93.vml"/><Relationship Id="rId6" Type="http://schemas.openxmlformats.org/officeDocument/2006/relationships/oleObject" Target="../embeddings/oleObject29.bin"/><Relationship Id="rId5" Type="http://schemas.openxmlformats.org/officeDocument/2006/relationships/image" Target="../media/image13.jpeg"/><Relationship Id="rId4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7" Type="http://schemas.openxmlformats.org/officeDocument/2006/relationships/image" Target="../media/image2.png"/><Relationship Id="rId2" Type="http://schemas.openxmlformats.org/officeDocument/2006/relationships/tags" Target="../tags/tag181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tags" Target="../tags/tag184.xml"/><Relationship Id="rId7" Type="http://schemas.openxmlformats.org/officeDocument/2006/relationships/image" Target="../media/image2.png"/><Relationship Id="rId2" Type="http://schemas.openxmlformats.org/officeDocument/2006/relationships/tags" Target="../tags/tag183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7" Type="http://schemas.openxmlformats.org/officeDocument/2006/relationships/image" Target="../media/image2.png"/><Relationship Id="rId2" Type="http://schemas.openxmlformats.org/officeDocument/2006/relationships/tags" Target="../tags/tag185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23.xml"/><Relationship Id="rId7" Type="http://schemas.openxmlformats.org/officeDocument/2006/relationships/image" Target="../media/image1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.jpe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6.png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tags" Target="../tags/tag188.xml"/><Relationship Id="rId7" Type="http://schemas.openxmlformats.org/officeDocument/2006/relationships/image" Target="../media/image2.png"/><Relationship Id="rId2" Type="http://schemas.openxmlformats.org/officeDocument/2006/relationships/tags" Target="../tags/tag187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tags" Target="../tags/tag190.xml"/><Relationship Id="rId7" Type="http://schemas.openxmlformats.org/officeDocument/2006/relationships/image" Target="../media/image2.png"/><Relationship Id="rId2" Type="http://schemas.openxmlformats.org/officeDocument/2006/relationships/tags" Target="../tags/tag189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tags" Target="../tags/tag192.xml"/><Relationship Id="rId7" Type="http://schemas.openxmlformats.org/officeDocument/2006/relationships/image" Target="../media/image2.png"/><Relationship Id="rId2" Type="http://schemas.openxmlformats.org/officeDocument/2006/relationships/tags" Target="../tags/tag191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194.xml"/><Relationship Id="rId7" Type="http://schemas.openxmlformats.org/officeDocument/2006/relationships/image" Target="../media/image16.emf"/><Relationship Id="rId2" Type="http://schemas.openxmlformats.org/officeDocument/2006/relationships/tags" Target="../tags/tag193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tags" Target="../tags/tag196.xml"/><Relationship Id="rId2" Type="http://schemas.openxmlformats.org/officeDocument/2006/relationships/tags" Target="../tags/tag195.xml"/><Relationship Id="rId1" Type="http://schemas.openxmlformats.org/officeDocument/2006/relationships/vmlDrawing" Target="../drawings/vmlDrawing10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tags" Target="../tags/tag198.xml"/><Relationship Id="rId2" Type="http://schemas.openxmlformats.org/officeDocument/2006/relationships/tags" Target="../tags/tag197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tags" Target="../tags/tag200.xml"/><Relationship Id="rId7" Type="http://schemas.openxmlformats.org/officeDocument/2006/relationships/image" Target="../media/image3.emf"/><Relationship Id="rId2" Type="http://schemas.openxmlformats.org/officeDocument/2006/relationships/tags" Target="../tags/tag199.xml"/><Relationship Id="rId1" Type="http://schemas.openxmlformats.org/officeDocument/2006/relationships/vmlDrawing" Target="../drawings/vmlDrawing10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tags" Target="../tags/tag202.xml"/><Relationship Id="rId7" Type="http://schemas.openxmlformats.org/officeDocument/2006/relationships/image" Target="../media/image3.emf"/><Relationship Id="rId2" Type="http://schemas.openxmlformats.org/officeDocument/2006/relationships/tags" Target="../tags/tag201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tags" Target="../tags/tag204.xml"/><Relationship Id="rId7" Type="http://schemas.openxmlformats.org/officeDocument/2006/relationships/image" Target="../media/image3.emf"/><Relationship Id="rId2" Type="http://schemas.openxmlformats.org/officeDocument/2006/relationships/tags" Target="../tags/tag203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tags" Target="../tags/tag206.xml"/><Relationship Id="rId7" Type="http://schemas.openxmlformats.org/officeDocument/2006/relationships/image" Target="../media/image3.emf"/><Relationship Id="rId2" Type="http://schemas.openxmlformats.org/officeDocument/2006/relationships/tags" Target="../tags/tag205.xml"/><Relationship Id="rId1" Type="http://schemas.openxmlformats.org/officeDocument/2006/relationships/vmlDrawing" Target="../drawings/vmlDrawing10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tags" Target="../tags/tag208.xml"/><Relationship Id="rId7" Type="http://schemas.openxmlformats.org/officeDocument/2006/relationships/image" Target="../media/image2.png"/><Relationship Id="rId2" Type="http://schemas.openxmlformats.org/officeDocument/2006/relationships/tags" Target="../tags/tag207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10.xml"/><Relationship Id="rId7" Type="http://schemas.openxmlformats.org/officeDocument/2006/relationships/image" Target="../media/image15.emf"/><Relationship Id="rId2" Type="http://schemas.openxmlformats.org/officeDocument/2006/relationships/tags" Target="../tags/tag209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12.xml"/><Relationship Id="rId7" Type="http://schemas.openxmlformats.org/officeDocument/2006/relationships/image" Target="../media/image15.emf"/><Relationship Id="rId2" Type="http://schemas.openxmlformats.org/officeDocument/2006/relationships/tags" Target="../tags/tag211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14.xml"/><Relationship Id="rId7" Type="http://schemas.openxmlformats.org/officeDocument/2006/relationships/image" Target="../media/image15.emf"/><Relationship Id="rId2" Type="http://schemas.openxmlformats.org/officeDocument/2006/relationships/tags" Target="../tags/tag213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16.xml"/><Relationship Id="rId7" Type="http://schemas.openxmlformats.org/officeDocument/2006/relationships/image" Target="../media/image15.emf"/><Relationship Id="rId2" Type="http://schemas.openxmlformats.org/officeDocument/2006/relationships/tags" Target="../tags/tag215.xml"/><Relationship Id="rId1" Type="http://schemas.openxmlformats.org/officeDocument/2006/relationships/vmlDrawing" Target="../drawings/vmlDrawing1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18.xml"/><Relationship Id="rId7" Type="http://schemas.openxmlformats.org/officeDocument/2006/relationships/image" Target="../media/image15.emf"/><Relationship Id="rId2" Type="http://schemas.openxmlformats.org/officeDocument/2006/relationships/tags" Target="../tags/tag217.xml"/><Relationship Id="rId1" Type="http://schemas.openxmlformats.org/officeDocument/2006/relationships/vmlDrawing" Target="../drawings/vmlDrawing1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tags" Target="../tags/tag220.xml"/><Relationship Id="rId7" Type="http://schemas.openxmlformats.org/officeDocument/2006/relationships/image" Target="../media/image15.emf"/><Relationship Id="rId2" Type="http://schemas.openxmlformats.org/officeDocument/2006/relationships/tags" Target="../tags/tag219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tags" Target="../tags/tag222.xml"/><Relationship Id="rId7" Type="http://schemas.openxmlformats.org/officeDocument/2006/relationships/image" Target="../media/image15.emf"/><Relationship Id="rId2" Type="http://schemas.openxmlformats.org/officeDocument/2006/relationships/tags" Target="../tags/tag221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tags" Target="../tags/tag224.xml"/><Relationship Id="rId7" Type="http://schemas.openxmlformats.org/officeDocument/2006/relationships/image" Target="../media/image2.png"/><Relationship Id="rId2" Type="http://schemas.openxmlformats.org/officeDocument/2006/relationships/tags" Target="../tags/tag223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26.xml"/><Relationship Id="rId7" Type="http://schemas.openxmlformats.org/officeDocument/2006/relationships/image" Target="../media/image16.emf"/><Relationship Id="rId2" Type="http://schemas.openxmlformats.org/officeDocument/2006/relationships/tags" Target="../tags/tag225.xml"/><Relationship Id="rId1" Type="http://schemas.openxmlformats.org/officeDocument/2006/relationships/vmlDrawing" Target="../drawings/vmlDrawing1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9.png"/><Relationship Id="rId2" Type="http://schemas.openxmlformats.org/officeDocument/2006/relationships/tags" Target="../tags/tag2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28.xml"/><Relationship Id="rId7" Type="http://schemas.openxmlformats.org/officeDocument/2006/relationships/image" Target="../media/image16.emf"/><Relationship Id="rId2" Type="http://schemas.openxmlformats.org/officeDocument/2006/relationships/tags" Target="../tags/tag227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30.xml"/><Relationship Id="rId7" Type="http://schemas.openxmlformats.org/officeDocument/2006/relationships/image" Target="../media/image16.emf"/><Relationship Id="rId2" Type="http://schemas.openxmlformats.org/officeDocument/2006/relationships/tags" Target="../tags/tag229.xml"/><Relationship Id="rId1" Type="http://schemas.openxmlformats.org/officeDocument/2006/relationships/vmlDrawing" Target="../drawings/vmlDrawing1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32.xml"/><Relationship Id="rId7" Type="http://schemas.openxmlformats.org/officeDocument/2006/relationships/image" Target="../media/image16.emf"/><Relationship Id="rId2" Type="http://schemas.openxmlformats.org/officeDocument/2006/relationships/tags" Target="../tags/tag231.xml"/><Relationship Id="rId1" Type="http://schemas.openxmlformats.org/officeDocument/2006/relationships/vmlDrawing" Target="../drawings/vmlDrawing1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34.xml"/><Relationship Id="rId7" Type="http://schemas.openxmlformats.org/officeDocument/2006/relationships/image" Target="../media/image16.emf"/><Relationship Id="rId2" Type="http://schemas.openxmlformats.org/officeDocument/2006/relationships/tags" Target="../tags/tag233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tags" Target="../tags/tag236.xml"/><Relationship Id="rId7" Type="http://schemas.openxmlformats.org/officeDocument/2006/relationships/image" Target="../media/image16.emf"/><Relationship Id="rId2" Type="http://schemas.openxmlformats.org/officeDocument/2006/relationships/tags" Target="../tags/tag235.xml"/><Relationship Id="rId1" Type="http://schemas.openxmlformats.org/officeDocument/2006/relationships/vmlDrawing" Target="../drawings/vmlDrawing1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tags" Target="../tags/tag238.xml"/><Relationship Id="rId7" Type="http://schemas.openxmlformats.org/officeDocument/2006/relationships/image" Target="../media/image16.emf"/><Relationship Id="rId2" Type="http://schemas.openxmlformats.org/officeDocument/2006/relationships/tags" Target="../tags/tag237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tags" Target="../tags/tag240.xml"/><Relationship Id="rId7" Type="http://schemas.openxmlformats.org/officeDocument/2006/relationships/image" Target="../media/image2.png"/><Relationship Id="rId2" Type="http://schemas.openxmlformats.org/officeDocument/2006/relationships/tags" Target="../tags/tag239.xml"/><Relationship Id="rId1" Type="http://schemas.openxmlformats.org/officeDocument/2006/relationships/vmlDrawing" Target="../drawings/vmlDrawing1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3.xml"/></Relationships>
</file>

<file path=ppt/slideLayouts/_rels/slideLayout1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42.xml"/><Relationship Id="rId7" Type="http://schemas.openxmlformats.org/officeDocument/2006/relationships/image" Target="../media/image16.emf"/><Relationship Id="rId2" Type="http://schemas.openxmlformats.org/officeDocument/2006/relationships/tags" Target="../tags/tag241.xml"/><Relationship Id="rId1" Type="http://schemas.openxmlformats.org/officeDocument/2006/relationships/vmlDrawing" Target="../drawings/vmlDrawing1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3.xml"/></Relationships>
</file>

<file path=ppt/slideLayouts/_rels/slideLayout1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44.xml"/><Relationship Id="rId7" Type="http://schemas.openxmlformats.org/officeDocument/2006/relationships/image" Target="../media/image16.emf"/><Relationship Id="rId2" Type="http://schemas.openxmlformats.org/officeDocument/2006/relationships/tags" Target="../tags/tag243.xml"/><Relationship Id="rId1" Type="http://schemas.openxmlformats.org/officeDocument/2006/relationships/vmlDrawing" Target="../drawings/vmlDrawing1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3.xml"/></Relationships>
</file>

<file path=ppt/slideLayouts/_rels/slideLayout1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46.xml"/><Relationship Id="rId7" Type="http://schemas.openxmlformats.org/officeDocument/2006/relationships/image" Target="../media/image16.emf"/><Relationship Id="rId2" Type="http://schemas.openxmlformats.org/officeDocument/2006/relationships/tags" Target="../tags/tag245.xml"/><Relationship Id="rId1" Type="http://schemas.openxmlformats.org/officeDocument/2006/relationships/vmlDrawing" Target="../drawings/vmlDrawing1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12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48.xml"/><Relationship Id="rId7" Type="http://schemas.openxmlformats.org/officeDocument/2006/relationships/image" Target="../media/image16.emf"/><Relationship Id="rId2" Type="http://schemas.openxmlformats.org/officeDocument/2006/relationships/tags" Target="../tags/tag247.xml"/><Relationship Id="rId1" Type="http://schemas.openxmlformats.org/officeDocument/2006/relationships/vmlDrawing" Target="../drawings/vmlDrawing1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3.xml"/></Relationships>
</file>

<file path=ppt/slideLayouts/_rels/slideLayout1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50.xml"/><Relationship Id="rId7" Type="http://schemas.openxmlformats.org/officeDocument/2006/relationships/image" Target="../media/image16.emf"/><Relationship Id="rId2" Type="http://schemas.openxmlformats.org/officeDocument/2006/relationships/tags" Target="../tags/tag249.xml"/><Relationship Id="rId1" Type="http://schemas.openxmlformats.org/officeDocument/2006/relationships/vmlDrawing" Target="../drawings/vmlDrawing1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tags" Target="../tags/tag252.xml"/><Relationship Id="rId7" Type="http://schemas.openxmlformats.org/officeDocument/2006/relationships/image" Target="../media/image15.emf"/><Relationship Id="rId2" Type="http://schemas.openxmlformats.org/officeDocument/2006/relationships/tags" Target="../tags/tag251.xml"/><Relationship Id="rId1" Type="http://schemas.openxmlformats.org/officeDocument/2006/relationships/vmlDrawing" Target="../drawings/vmlDrawing1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tags" Target="../tags/tag254.xml"/><Relationship Id="rId7" Type="http://schemas.openxmlformats.org/officeDocument/2006/relationships/image" Target="../media/image2.png"/><Relationship Id="rId2" Type="http://schemas.openxmlformats.org/officeDocument/2006/relationships/tags" Target="../tags/tag253.xml"/><Relationship Id="rId1" Type="http://schemas.openxmlformats.org/officeDocument/2006/relationships/vmlDrawing" Target="../drawings/vmlDrawing1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56.xml"/><Relationship Id="rId7" Type="http://schemas.openxmlformats.org/officeDocument/2006/relationships/image" Target="../media/image16.emf"/><Relationship Id="rId2" Type="http://schemas.openxmlformats.org/officeDocument/2006/relationships/tags" Target="../tags/tag255.xml"/><Relationship Id="rId1" Type="http://schemas.openxmlformats.org/officeDocument/2006/relationships/vmlDrawing" Target="../drawings/vmlDrawing1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58.xml"/><Relationship Id="rId7" Type="http://schemas.openxmlformats.org/officeDocument/2006/relationships/image" Target="../media/image16.emf"/><Relationship Id="rId2" Type="http://schemas.openxmlformats.org/officeDocument/2006/relationships/tags" Target="../tags/tag257.xml"/><Relationship Id="rId1" Type="http://schemas.openxmlformats.org/officeDocument/2006/relationships/vmlDrawing" Target="../drawings/vmlDrawing1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60.xml"/><Relationship Id="rId7" Type="http://schemas.openxmlformats.org/officeDocument/2006/relationships/image" Target="../media/image16.emf"/><Relationship Id="rId2" Type="http://schemas.openxmlformats.org/officeDocument/2006/relationships/tags" Target="../tags/tag259.xml"/><Relationship Id="rId1" Type="http://schemas.openxmlformats.org/officeDocument/2006/relationships/vmlDrawing" Target="../drawings/vmlDrawing1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62.xml"/><Relationship Id="rId7" Type="http://schemas.openxmlformats.org/officeDocument/2006/relationships/image" Target="../media/image16.emf"/><Relationship Id="rId2" Type="http://schemas.openxmlformats.org/officeDocument/2006/relationships/tags" Target="../tags/tag261.xml"/><Relationship Id="rId1" Type="http://schemas.openxmlformats.org/officeDocument/2006/relationships/vmlDrawing" Target="../drawings/vmlDrawing1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9.bin"/><Relationship Id="rId4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64.xml"/><Relationship Id="rId7" Type="http://schemas.openxmlformats.org/officeDocument/2006/relationships/image" Target="../media/image16.emf"/><Relationship Id="rId2" Type="http://schemas.openxmlformats.org/officeDocument/2006/relationships/tags" Target="../tags/tag263.xml"/><Relationship Id="rId1" Type="http://schemas.openxmlformats.org/officeDocument/2006/relationships/vmlDrawing" Target="../drawings/vmlDrawing1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3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tags" Target="../tags/tag266.xml"/><Relationship Id="rId7" Type="http://schemas.openxmlformats.org/officeDocument/2006/relationships/image" Target="../media/image16.emf"/><Relationship Id="rId2" Type="http://schemas.openxmlformats.org/officeDocument/2006/relationships/tags" Target="../tags/tag265.xml"/><Relationship Id="rId1" Type="http://schemas.openxmlformats.org/officeDocument/2006/relationships/vmlDrawing" Target="../drawings/vmlDrawing1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0.xml"/><Relationship Id="rId7" Type="http://schemas.openxmlformats.org/officeDocument/2006/relationships/image" Target="../media/image1.emf"/><Relationship Id="rId2" Type="http://schemas.openxmlformats.org/officeDocument/2006/relationships/tags" Target="../tags/tag29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4.bin"/><Relationship Id="rId5" Type="http://schemas.openxmlformats.org/officeDocument/2006/relationships/image" Target="../media/image13.jpeg"/><Relationship Id="rId4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tags" Target="../tags/tag268.xml"/><Relationship Id="rId7" Type="http://schemas.openxmlformats.org/officeDocument/2006/relationships/image" Target="../media/image16.emf"/><Relationship Id="rId2" Type="http://schemas.openxmlformats.org/officeDocument/2006/relationships/tags" Target="../tags/tag267.xml"/><Relationship Id="rId1" Type="http://schemas.openxmlformats.org/officeDocument/2006/relationships/vmlDrawing" Target="../drawings/vmlDrawing1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tags" Target="../tags/tag270.xml"/><Relationship Id="rId2" Type="http://schemas.openxmlformats.org/officeDocument/2006/relationships/tags" Target="../tags/tag269.xml"/><Relationship Id="rId1" Type="http://schemas.openxmlformats.org/officeDocument/2006/relationships/vmlDrawing" Target="../drawings/vmlDrawing1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3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tags" Target="../tags/tag272.xml"/><Relationship Id="rId2" Type="http://schemas.openxmlformats.org/officeDocument/2006/relationships/tags" Target="../tags/tag271.xml"/><Relationship Id="rId1" Type="http://schemas.openxmlformats.org/officeDocument/2006/relationships/vmlDrawing" Target="../drawings/vmlDrawing1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3.xml"/></Relationships>
</file>

<file path=ppt/slideLayouts/_rels/slideLayout1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74.xml"/><Relationship Id="rId7" Type="http://schemas.openxmlformats.org/officeDocument/2006/relationships/image" Target="../media/image18.emf"/><Relationship Id="rId2" Type="http://schemas.openxmlformats.org/officeDocument/2006/relationships/tags" Target="../tags/tag273.xml"/><Relationship Id="rId1" Type="http://schemas.openxmlformats.org/officeDocument/2006/relationships/vmlDrawing" Target="../drawings/vmlDrawing1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1.bin"/><Relationship Id="rId10" Type="http://schemas.openxmlformats.org/officeDocument/2006/relationships/image" Target="../media/image19.emf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17.emf"/></Relationships>
</file>

<file path=ppt/slideLayouts/_rels/slideLayout1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76.xml"/><Relationship Id="rId7" Type="http://schemas.openxmlformats.org/officeDocument/2006/relationships/image" Target="../media/image18.emf"/><Relationship Id="rId2" Type="http://schemas.openxmlformats.org/officeDocument/2006/relationships/tags" Target="../tags/tag275.xml"/><Relationship Id="rId1" Type="http://schemas.openxmlformats.org/officeDocument/2006/relationships/vmlDrawing" Target="../drawings/vmlDrawing1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1.bin"/><Relationship Id="rId10" Type="http://schemas.openxmlformats.org/officeDocument/2006/relationships/image" Target="../media/image17.emf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19.emf"/></Relationships>
</file>

<file path=ppt/slideLayouts/_rels/slideLayout1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78.xml"/><Relationship Id="rId7" Type="http://schemas.openxmlformats.org/officeDocument/2006/relationships/image" Target="../media/image18.emf"/><Relationship Id="rId2" Type="http://schemas.openxmlformats.org/officeDocument/2006/relationships/tags" Target="../tags/tag277.xml"/><Relationship Id="rId1" Type="http://schemas.openxmlformats.org/officeDocument/2006/relationships/vmlDrawing" Target="../drawings/vmlDrawing1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1.bin"/><Relationship Id="rId10" Type="http://schemas.openxmlformats.org/officeDocument/2006/relationships/image" Target="../media/image19.emf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17.emf"/></Relationships>
</file>

<file path=ppt/slideLayouts/_rels/slideLayout1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80.xml"/><Relationship Id="rId7" Type="http://schemas.openxmlformats.org/officeDocument/2006/relationships/image" Target="../media/image18.emf"/><Relationship Id="rId2" Type="http://schemas.openxmlformats.org/officeDocument/2006/relationships/tags" Target="../tags/tag279.xml"/><Relationship Id="rId1" Type="http://schemas.openxmlformats.org/officeDocument/2006/relationships/vmlDrawing" Target="../drawings/vmlDrawing143.vml"/><Relationship Id="rId6" Type="http://schemas.openxmlformats.org/officeDocument/2006/relationships/image" Target="../media/image1.emf"/><Relationship Id="rId11" Type="http://schemas.openxmlformats.org/officeDocument/2006/relationships/image" Target="../media/image19.emf"/><Relationship Id="rId5" Type="http://schemas.openxmlformats.org/officeDocument/2006/relationships/oleObject" Target="../embeddings/oleObject61.bin"/><Relationship Id="rId10" Type="http://schemas.openxmlformats.org/officeDocument/2006/relationships/image" Target="../media/image20.emf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17.emf"/></Relationships>
</file>

<file path=ppt/slideLayouts/_rels/slideLayout1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82.xml"/><Relationship Id="rId7" Type="http://schemas.openxmlformats.org/officeDocument/2006/relationships/image" Target="../media/image18.emf"/><Relationship Id="rId2" Type="http://schemas.openxmlformats.org/officeDocument/2006/relationships/tags" Target="../tags/tag281.xml"/><Relationship Id="rId1" Type="http://schemas.openxmlformats.org/officeDocument/2006/relationships/vmlDrawing" Target="../drawings/vmlDrawing1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17.emf"/></Relationships>
</file>

<file path=ppt/slideLayouts/_rels/slideLayout1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84.xml"/><Relationship Id="rId7" Type="http://schemas.openxmlformats.org/officeDocument/2006/relationships/image" Target="../media/image18.emf"/><Relationship Id="rId2" Type="http://schemas.openxmlformats.org/officeDocument/2006/relationships/tags" Target="../tags/tag283.xml"/><Relationship Id="rId1" Type="http://schemas.openxmlformats.org/officeDocument/2006/relationships/vmlDrawing" Target="../drawings/vmlDrawing1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17.emf"/></Relationships>
</file>

<file path=ppt/slideLayouts/_rels/slideLayout1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86.xml"/><Relationship Id="rId7" Type="http://schemas.openxmlformats.org/officeDocument/2006/relationships/image" Target="../media/image18.emf"/><Relationship Id="rId2" Type="http://schemas.openxmlformats.org/officeDocument/2006/relationships/tags" Target="../tags/tag285.xml"/><Relationship Id="rId1" Type="http://schemas.openxmlformats.org/officeDocument/2006/relationships/vmlDrawing" Target="../drawings/vmlDrawing1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17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88.xml"/><Relationship Id="rId7" Type="http://schemas.openxmlformats.org/officeDocument/2006/relationships/image" Target="../media/image18.emf"/><Relationship Id="rId2" Type="http://schemas.openxmlformats.org/officeDocument/2006/relationships/tags" Target="../tags/tag287.xml"/><Relationship Id="rId1" Type="http://schemas.openxmlformats.org/officeDocument/2006/relationships/vmlDrawing" Target="../drawings/vmlDrawing14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17.emf"/></Relationships>
</file>

<file path=ppt/slideLayouts/_rels/slideLayout1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90.xml"/><Relationship Id="rId7" Type="http://schemas.openxmlformats.org/officeDocument/2006/relationships/image" Target="../media/image18.emf"/><Relationship Id="rId2" Type="http://schemas.openxmlformats.org/officeDocument/2006/relationships/tags" Target="../tags/tag289.xml"/><Relationship Id="rId1" Type="http://schemas.openxmlformats.org/officeDocument/2006/relationships/vmlDrawing" Target="../drawings/vmlDrawing1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1.bin"/><Relationship Id="rId10" Type="http://schemas.openxmlformats.org/officeDocument/2006/relationships/image" Target="../media/image19.emf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17.emf"/></Relationships>
</file>

<file path=ppt/slideLayouts/_rels/slideLayout1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92.xml"/><Relationship Id="rId7" Type="http://schemas.openxmlformats.org/officeDocument/2006/relationships/image" Target="../media/image18.emf"/><Relationship Id="rId2" Type="http://schemas.openxmlformats.org/officeDocument/2006/relationships/tags" Target="../tags/tag291.xml"/><Relationship Id="rId1" Type="http://schemas.openxmlformats.org/officeDocument/2006/relationships/vmlDrawing" Target="../drawings/vmlDrawing1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1.bin"/><Relationship Id="rId10" Type="http://schemas.openxmlformats.org/officeDocument/2006/relationships/image" Target="../media/image19.emf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20.emf"/></Relationships>
</file>

<file path=ppt/slideLayouts/_rels/slideLayout1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94.xml"/><Relationship Id="rId7" Type="http://schemas.openxmlformats.org/officeDocument/2006/relationships/image" Target="../media/image18.emf"/><Relationship Id="rId2" Type="http://schemas.openxmlformats.org/officeDocument/2006/relationships/tags" Target="../tags/tag293.xml"/><Relationship Id="rId1" Type="http://schemas.openxmlformats.org/officeDocument/2006/relationships/vmlDrawing" Target="../drawings/vmlDrawing15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17.emf"/></Relationships>
</file>

<file path=ppt/slideLayouts/_rels/slideLayout1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296.xml"/><Relationship Id="rId7" Type="http://schemas.openxmlformats.org/officeDocument/2006/relationships/image" Target="../media/image18.emf"/><Relationship Id="rId2" Type="http://schemas.openxmlformats.org/officeDocument/2006/relationships/tags" Target="../tags/tag295.xml"/><Relationship Id="rId1" Type="http://schemas.openxmlformats.org/officeDocument/2006/relationships/vmlDrawing" Target="../drawings/vmlDrawing15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20.emf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tags" Target="../tags/tag298.xml"/><Relationship Id="rId2" Type="http://schemas.openxmlformats.org/officeDocument/2006/relationships/tags" Target="../tags/tag297.xml"/><Relationship Id="rId1" Type="http://schemas.openxmlformats.org/officeDocument/2006/relationships/vmlDrawing" Target="../drawings/vmlDrawing15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3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tags" Target="../tags/tag300.xml"/><Relationship Id="rId2" Type="http://schemas.openxmlformats.org/officeDocument/2006/relationships/tags" Target="../tags/tag299.xml"/><Relationship Id="rId1" Type="http://schemas.openxmlformats.org/officeDocument/2006/relationships/vmlDrawing" Target="../drawings/vmlDrawing15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3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tags" Target="../tags/tag302.xml"/><Relationship Id="rId2" Type="http://schemas.openxmlformats.org/officeDocument/2006/relationships/tags" Target="../tags/tag301.xml"/><Relationship Id="rId1" Type="http://schemas.openxmlformats.org/officeDocument/2006/relationships/vmlDrawing" Target="../drawings/vmlDrawing15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3.xml"/></Relationships>
</file>

<file path=ppt/slideLayouts/_rels/slideLayout1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tags" Target="../tags/tag304.xml"/><Relationship Id="rId7" Type="http://schemas.openxmlformats.org/officeDocument/2006/relationships/image" Target="../media/image7.png"/><Relationship Id="rId2" Type="http://schemas.openxmlformats.org/officeDocument/2006/relationships/tags" Target="../tags/tag303.xml"/><Relationship Id="rId1" Type="http://schemas.openxmlformats.org/officeDocument/2006/relationships/vmlDrawing" Target="../drawings/vmlDrawing15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3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tags" Target="../tags/tag306.xml"/><Relationship Id="rId2" Type="http://schemas.openxmlformats.org/officeDocument/2006/relationships/tags" Target="../tags/tag305.xml"/><Relationship Id="rId1" Type="http://schemas.openxmlformats.org/officeDocument/2006/relationships/vmlDrawing" Target="../drawings/vmlDrawing15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9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9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tags" Target="../tags/tag308.xml"/><Relationship Id="rId7" Type="http://schemas.openxmlformats.org/officeDocument/2006/relationships/image" Target="../media/image7.png"/><Relationship Id="rId2" Type="http://schemas.openxmlformats.org/officeDocument/2006/relationships/tags" Target="../tags/tag307.xml"/><Relationship Id="rId1" Type="http://schemas.openxmlformats.org/officeDocument/2006/relationships/vmlDrawing" Target="../drawings/vmlDrawing15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3.bin"/><Relationship Id="rId4" Type="http://schemas.openxmlformats.org/officeDocument/2006/relationships/slideMaster" Target="../slideMasters/slideMaster3.xml"/></Relationships>
</file>

<file path=ppt/slideLayouts/_rels/slideLayout1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3" Type="http://schemas.openxmlformats.org/officeDocument/2006/relationships/tags" Target="../tags/tag310.xml"/><Relationship Id="rId7" Type="http://schemas.openxmlformats.org/officeDocument/2006/relationships/image" Target="../media/image7.png"/><Relationship Id="rId2" Type="http://schemas.openxmlformats.org/officeDocument/2006/relationships/tags" Target="../tags/tag309.xml"/><Relationship Id="rId1" Type="http://schemas.openxmlformats.org/officeDocument/2006/relationships/vmlDrawing" Target="../drawings/vmlDrawing1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4.bin"/><Relationship Id="rId4" Type="http://schemas.openxmlformats.org/officeDocument/2006/relationships/slideMaster" Target="../slideMasters/slideMaster3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6.png"/><Relationship Id="rId2" Type="http://schemas.openxmlformats.org/officeDocument/2006/relationships/tags" Target="../tags/tag311.xml"/><Relationship Id="rId1" Type="http://schemas.openxmlformats.org/officeDocument/2006/relationships/vmlDrawing" Target="../drawings/vmlDrawing159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6.png"/><Relationship Id="rId2" Type="http://schemas.openxmlformats.org/officeDocument/2006/relationships/tags" Target="../tags/tag312.xml"/><Relationship Id="rId1" Type="http://schemas.openxmlformats.org/officeDocument/2006/relationships/vmlDrawing" Target="../drawings/vmlDrawing160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Layouts/_rels/slideLayout1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Master" Target="../slideMasters/slideMaster3.xml"/><Relationship Id="rId7" Type="http://schemas.microsoft.com/office/2007/relationships/hdphoto" Target="../media/hdphoto2.wdp"/><Relationship Id="rId2" Type="http://schemas.openxmlformats.org/officeDocument/2006/relationships/tags" Target="../tags/tag313.xml"/><Relationship Id="rId1" Type="http://schemas.openxmlformats.org/officeDocument/2006/relationships/vmlDrawing" Target="../drawings/vmlDrawing161.vml"/><Relationship Id="rId6" Type="http://schemas.openxmlformats.org/officeDocument/2006/relationships/image" Target="../media/image2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Relationship Id="rId9" Type="http://schemas.openxmlformats.org/officeDocument/2006/relationships/image" Target="../media/image6.png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9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tags" Target="../tags/tag315.xml"/><Relationship Id="rId2" Type="http://schemas.openxmlformats.org/officeDocument/2006/relationships/tags" Target="../tags/tag314.xml"/><Relationship Id="rId1" Type="http://schemas.openxmlformats.org/officeDocument/2006/relationships/vmlDrawing" Target="../drawings/vmlDrawing16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8.bin"/><Relationship Id="rId4" Type="http://schemas.openxmlformats.org/officeDocument/2006/relationships/slideMaster" Target="../slideMasters/slideMaster3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tags" Target="../tags/tag319.xml"/><Relationship Id="rId2" Type="http://schemas.openxmlformats.org/officeDocument/2006/relationships/tags" Target="../tags/tag318.xml"/><Relationship Id="rId1" Type="http://schemas.openxmlformats.org/officeDocument/2006/relationships/vmlDrawing" Target="../drawings/vmlDrawing1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0.bin"/><Relationship Id="rId4" Type="http://schemas.openxmlformats.org/officeDocument/2006/relationships/slideMaster" Target="../slideMasters/slideMaster4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tags" Target="../tags/tag321.xml"/><Relationship Id="rId7" Type="http://schemas.openxmlformats.org/officeDocument/2006/relationships/image" Target="../media/image24.png"/><Relationship Id="rId2" Type="http://schemas.openxmlformats.org/officeDocument/2006/relationships/tags" Target="../tags/tag320.xml"/><Relationship Id="rId1" Type="http://schemas.openxmlformats.org/officeDocument/2006/relationships/vmlDrawing" Target="../drawings/vmlDrawing16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1.bin"/><Relationship Id="rId4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9.png"/><Relationship Id="rId2" Type="http://schemas.openxmlformats.org/officeDocument/2006/relationships/tags" Target="../tags/tag3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tags" Target="../tags/tag323.xml"/><Relationship Id="rId2" Type="http://schemas.openxmlformats.org/officeDocument/2006/relationships/tags" Target="../tags/tag322.xml"/><Relationship Id="rId1" Type="http://schemas.openxmlformats.org/officeDocument/2006/relationships/vmlDrawing" Target="../drawings/vmlDrawing16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0.bin"/><Relationship Id="rId4" Type="http://schemas.openxmlformats.org/officeDocument/2006/relationships/slideMaster" Target="../slideMasters/slideMaster4.xml"/></Relationships>
</file>

<file path=ppt/slideLayouts/_rels/slideLayout2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25.xml"/><Relationship Id="rId7" Type="http://schemas.openxmlformats.org/officeDocument/2006/relationships/image" Target="../media/image18.emf"/><Relationship Id="rId2" Type="http://schemas.openxmlformats.org/officeDocument/2006/relationships/tags" Target="../tags/tag324.xml"/><Relationship Id="rId1" Type="http://schemas.openxmlformats.org/officeDocument/2006/relationships/vmlDrawing" Target="../drawings/vmlDrawing16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2.bin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17.emf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tags" Target="../tags/tag327.xml"/><Relationship Id="rId7" Type="http://schemas.openxmlformats.org/officeDocument/2006/relationships/image" Target="../media/image25.png"/><Relationship Id="rId2" Type="http://schemas.openxmlformats.org/officeDocument/2006/relationships/tags" Target="../tags/tag326.xml"/><Relationship Id="rId1" Type="http://schemas.openxmlformats.org/officeDocument/2006/relationships/vmlDrawing" Target="../drawings/vmlDrawing16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3.bin"/><Relationship Id="rId4" Type="http://schemas.openxmlformats.org/officeDocument/2006/relationships/slideMaster" Target="../slideMasters/slideMaster4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31.xml"/><Relationship Id="rId7" Type="http://schemas.openxmlformats.org/officeDocument/2006/relationships/image" Target="../media/image10.png"/><Relationship Id="rId2" Type="http://schemas.openxmlformats.org/officeDocument/2006/relationships/tags" Target="../tags/tag330.xml"/><Relationship Id="rId1" Type="http://schemas.openxmlformats.org/officeDocument/2006/relationships/vmlDrawing" Target="../drawings/vmlDrawing17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5.bin"/><Relationship Id="rId4" Type="http://schemas.openxmlformats.org/officeDocument/2006/relationships/slideMaster" Target="../slideMasters/slideMaster5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tags" Target="../tags/tag333.xml"/><Relationship Id="rId2" Type="http://schemas.openxmlformats.org/officeDocument/2006/relationships/tags" Target="../tags/tag332.xml"/><Relationship Id="rId1" Type="http://schemas.openxmlformats.org/officeDocument/2006/relationships/vmlDrawing" Target="../drawings/vmlDrawing17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6.bin"/><Relationship Id="rId4" Type="http://schemas.openxmlformats.org/officeDocument/2006/relationships/slideMaster" Target="../slideMasters/slideMaster5.xml"/></Relationships>
</file>

<file path=ppt/slideLayouts/_rels/slideLayout2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335.xml"/><Relationship Id="rId7" Type="http://schemas.openxmlformats.org/officeDocument/2006/relationships/image" Target="../media/image1.emf"/><Relationship Id="rId2" Type="http://schemas.openxmlformats.org/officeDocument/2006/relationships/tags" Target="../tags/tag334.xml"/><Relationship Id="rId1" Type="http://schemas.openxmlformats.org/officeDocument/2006/relationships/vmlDrawing" Target="../drawings/vmlDrawing172.vml"/><Relationship Id="rId6" Type="http://schemas.openxmlformats.org/officeDocument/2006/relationships/oleObject" Target="../embeddings/oleObject77.bin"/><Relationship Id="rId5" Type="http://schemas.openxmlformats.org/officeDocument/2006/relationships/image" Target="../media/image11.jpeg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9.png"/></Relationships>
</file>

<file path=ppt/slideLayouts/_rels/slideLayout2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37.xml"/><Relationship Id="rId7" Type="http://schemas.openxmlformats.org/officeDocument/2006/relationships/image" Target="../media/image1.emf"/><Relationship Id="rId2" Type="http://schemas.openxmlformats.org/officeDocument/2006/relationships/tags" Target="../tags/tag336.xml"/><Relationship Id="rId1" Type="http://schemas.openxmlformats.org/officeDocument/2006/relationships/vmlDrawing" Target="../drawings/vmlDrawing173.vml"/><Relationship Id="rId6" Type="http://schemas.openxmlformats.org/officeDocument/2006/relationships/oleObject" Target="../embeddings/oleObject78.bin"/><Relationship Id="rId5" Type="http://schemas.openxmlformats.org/officeDocument/2006/relationships/image" Target="../media/image4.jpeg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6.png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38.xml"/><Relationship Id="rId1" Type="http://schemas.openxmlformats.org/officeDocument/2006/relationships/vmlDrawing" Target="../drawings/vmlDrawing174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tags" Target="../tags/tag340.xml"/><Relationship Id="rId7" Type="http://schemas.openxmlformats.org/officeDocument/2006/relationships/image" Target="../media/image9.png"/><Relationship Id="rId2" Type="http://schemas.openxmlformats.org/officeDocument/2006/relationships/tags" Target="../tags/tag339.xml"/><Relationship Id="rId1" Type="http://schemas.openxmlformats.org/officeDocument/2006/relationships/vmlDrawing" Target="../drawings/vmlDrawing17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0.bin"/><Relationship Id="rId4" Type="http://schemas.openxmlformats.org/officeDocument/2006/relationships/slideMaster" Target="../slideMasters/slideMaster5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tags" Target="../tags/tag342.xml"/><Relationship Id="rId7" Type="http://schemas.openxmlformats.org/officeDocument/2006/relationships/image" Target="../media/image12.png"/><Relationship Id="rId2" Type="http://schemas.openxmlformats.org/officeDocument/2006/relationships/tags" Target="../tags/tag341.xml"/><Relationship Id="rId1" Type="http://schemas.openxmlformats.org/officeDocument/2006/relationships/vmlDrawing" Target="../drawings/vmlDrawing17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1.bin"/><Relationship Id="rId4" Type="http://schemas.openxmlformats.org/officeDocument/2006/relationships/slideMaster" Target="../slideMasters/slideMaster5.xml"/></Relationships>
</file>

<file path=ppt/slideLayouts/_rels/slideLayout2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44.xml"/><Relationship Id="rId7" Type="http://schemas.openxmlformats.org/officeDocument/2006/relationships/image" Target="../media/image1.emf"/><Relationship Id="rId2" Type="http://schemas.openxmlformats.org/officeDocument/2006/relationships/tags" Target="../tags/tag343.xml"/><Relationship Id="rId1" Type="http://schemas.openxmlformats.org/officeDocument/2006/relationships/vmlDrawing" Target="../drawings/vmlDrawing177.vml"/><Relationship Id="rId6" Type="http://schemas.openxmlformats.org/officeDocument/2006/relationships/oleObject" Target="../embeddings/oleObject82.bin"/><Relationship Id="rId5" Type="http://schemas.openxmlformats.org/officeDocument/2006/relationships/image" Target="../media/image13.jpeg"/><Relationship Id="rId4" Type="http://schemas.openxmlformats.org/officeDocument/2006/relationships/slideMaster" Target="../slideMasters/slideMaster5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tags" Target="../tags/tag346.xml"/><Relationship Id="rId7" Type="http://schemas.openxmlformats.org/officeDocument/2006/relationships/image" Target="../media/image9.png"/><Relationship Id="rId2" Type="http://schemas.openxmlformats.org/officeDocument/2006/relationships/tags" Target="../tags/tag345.xml"/><Relationship Id="rId1" Type="http://schemas.openxmlformats.org/officeDocument/2006/relationships/vmlDrawing" Target="../drawings/vmlDrawing17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3.bin"/><Relationship Id="rId4" Type="http://schemas.openxmlformats.org/officeDocument/2006/relationships/slideMaster" Target="../slideMasters/slideMaster5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tags" Target="../tags/tag348.xml"/><Relationship Id="rId7" Type="http://schemas.openxmlformats.org/officeDocument/2006/relationships/image" Target="../media/image9.png"/><Relationship Id="rId2" Type="http://schemas.openxmlformats.org/officeDocument/2006/relationships/tags" Target="../tags/tag347.xml"/><Relationship Id="rId1" Type="http://schemas.openxmlformats.org/officeDocument/2006/relationships/vmlDrawing" Target="../drawings/vmlDrawing17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4.bin"/><Relationship Id="rId4" Type="http://schemas.openxmlformats.org/officeDocument/2006/relationships/slideMaster" Target="../slideMasters/slideMaster5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tags" Target="../tags/tag350.xml"/><Relationship Id="rId7" Type="http://schemas.openxmlformats.org/officeDocument/2006/relationships/image" Target="../media/image9.png"/><Relationship Id="rId2" Type="http://schemas.openxmlformats.org/officeDocument/2006/relationships/tags" Target="../tags/tag349.xml"/><Relationship Id="rId1" Type="http://schemas.openxmlformats.org/officeDocument/2006/relationships/vmlDrawing" Target="../drawings/vmlDrawing18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5.bin"/><Relationship Id="rId4" Type="http://schemas.openxmlformats.org/officeDocument/2006/relationships/slideMaster" Target="../slideMasters/slideMaster5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tags" Target="../tags/tag352.xml"/><Relationship Id="rId7" Type="http://schemas.openxmlformats.org/officeDocument/2006/relationships/image" Target="../media/image9.png"/><Relationship Id="rId2" Type="http://schemas.openxmlformats.org/officeDocument/2006/relationships/tags" Target="../tags/tag351.xml"/><Relationship Id="rId1" Type="http://schemas.openxmlformats.org/officeDocument/2006/relationships/vmlDrawing" Target="../drawings/vmlDrawing18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6.bin"/><Relationship Id="rId4" Type="http://schemas.openxmlformats.org/officeDocument/2006/relationships/slideMaster" Target="../slideMasters/slideMaster5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tags" Target="../tags/tag354.xml"/><Relationship Id="rId2" Type="http://schemas.openxmlformats.org/officeDocument/2006/relationships/tags" Target="../tags/tag353.xml"/><Relationship Id="rId1" Type="http://schemas.openxmlformats.org/officeDocument/2006/relationships/vmlDrawing" Target="../drawings/vmlDrawing18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6.bin"/><Relationship Id="rId4" Type="http://schemas.openxmlformats.org/officeDocument/2006/relationships/slideMaster" Target="../slideMasters/slideMaster5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tags" Target="../tags/tag356.xml"/><Relationship Id="rId2" Type="http://schemas.openxmlformats.org/officeDocument/2006/relationships/tags" Target="../tags/tag355.xml"/><Relationship Id="rId1" Type="http://schemas.openxmlformats.org/officeDocument/2006/relationships/vmlDrawing" Target="../drawings/vmlDrawing18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6.bin"/><Relationship Id="rId4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tags" Target="../tags/tag358.xml"/><Relationship Id="rId2" Type="http://schemas.openxmlformats.org/officeDocument/2006/relationships/tags" Target="../tags/tag357.xml"/><Relationship Id="rId1" Type="http://schemas.openxmlformats.org/officeDocument/2006/relationships/vmlDrawing" Target="../drawings/vmlDrawing18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6.bin"/><Relationship Id="rId4" Type="http://schemas.openxmlformats.org/officeDocument/2006/relationships/slideMaster" Target="../slideMasters/slideMaster5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tags" Target="../tags/tag360.xml"/><Relationship Id="rId2" Type="http://schemas.openxmlformats.org/officeDocument/2006/relationships/tags" Target="../tags/tag359.xml"/><Relationship Id="rId1" Type="http://schemas.openxmlformats.org/officeDocument/2006/relationships/vmlDrawing" Target="../drawings/vmlDrawing18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6.bin"/><Relationship Id="rId4" Type="http://schemas.openxmlformats.org/officeDocument/2006/relationships/slideMaster" Target="../slideMasters/slideMaster5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tags" Target="../tags/tag362.xml"/><Relationship Id="rId2" Type="http://schemas.openxmlformats.org/officeDocument/2006/relationships/tags" Target="../tags/tag361.xml"/><Relationship Id="rId1" Type="http://schemas.openxmlformats.org/officeDocument/2006/relationships/vmlDrawing" Target="../drawings/vmlDrawing18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6.bin"/><Relationship Id="rId4" Type="http://schemas.openxmlformats.org/officeDocument/2006/relationships/slideMaster" Target="../slideMasters/slideMaster5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tags" Target="../tags/tag364.xml"/><Relationship Id="rId7" Type="http://schemas.openxmlformats.org/officeDocument/2006/relationships/image" Target="../media/image3.emf"/><Relationship Id="rId2" Type="http://schemas.openxmlformats.org/officeDocument/2006/relationships/tags" Target="../tags/tag363.xml"/><Relationship Id="rId1" Type="http://schemas.openxmlformats.org/officeDocument/2006/relationships/vmlDrawing" Target="../drawings/vmlDrawing18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6.bin"/><Relationship Id="rId4" Type="http://schemas.openxmlformats.org/officeDocument/2006/relationships/slideMaster" Target="../slideMasters/slideMaster5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tags" Target="../tags/tag366.xml"/><Relationship Id="rId7" Type="http://schemas.openxmlformats.org/officeDocument/2006/relationships/image" Target="../media/image3.emf"/><Relationship Id="rId2" Type="http://schemas.openxmlformats.org/officeDocument/2006/relationships/tags" Target="../tags/tag365.xml"/><Relationship Id="rId1" Type="http://schemas.openxmlformats.org/officeDocument/2006/relationships/vmlDrawing" Target="../drawings/vmlDrawing18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6.bin"/><Relationship Id="rId4" Type="http://schemas.openxmlformats.org/officeDocument/2006/relationships/slideMaster" Target="../slideMasters/slideMaster5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tags" Target="../tags/tag368.xml"/><Relationship Id="rId7" Type="http://schemas.openxmlformats.org/officeDocument/2006/relationships/image" Target="../media/image3.emf"/><Relationship Id="rId2" Type="http://schemas.openxmlformats.org/officeDocument/2006/relationships/tags" Target="../tags/tag367.xml"/><Relationship Id="rId1" Type="http://schemas.openxmlformats.org/officeDocument/2006/relationships/vmlDrawing" Target="../drawings/vmlDrawing18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6.bin"/><Relationship Id="rId4" Type="http://schemas.openxmlformats.org/officeDocument/2006/relationships/slideMaster" Target="../slideMasters/slideMaster5.xml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tags" Target="../tags/tag370.xml"/><Relationship Id="rId7" Type="http://schemas.openxmlformats.org/officeDocument/2006/relationships/image" Target="../media/image3.emf"/><Relationship Id="rId2" Type="http://schemas.openxmlformats.org/officeDocument/2006/relationships/tags" Target="../tags/tag369.xml"/><Relationship Id="rId1" Type="http://schemas.openxmlformats.org/officeDocument/2006/relationships/vmlDrawing" Target="../drawings/vmlDrawing19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6.bin"/><Relationship Id="rId4" Type="http://schemas.openxmlformats.org/officeDocument/2006/relationships/slideMaster" Target="../slideMasters/slideMaster5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tags" Target="../tags/tag372.xml"/><Relationship Id="rId7" Type="http://schemas.openxmlformats.org/officeDocument/2006/relationships/image" Target="../media/image9.png"/><Relationship Id="rId2" Type="http://schemas.openxmlformats.org/officeDocument/2006/relationships/tags" Target="../tags/tag371.xml"/><Relationship Id="rId1" Type="http://schemas.openxmlformats.org/officeDocument/2006/relationships/vmlDrawing" Target="../drawings/vmlDrawing19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7.bin"/><Relationship Id="rId4" Type="http://schemas.openxmlformats.org/officeDocument/2006/relationships/slideMaster" Target="../slideMasters/slideMaster5.xml"/></Relationships>
</file>

<file path=ppt/slideLayouts/_rels/slideLayout2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74.xml"/><Relationship Id="rId7" Type="http://schemas.openxmlformats.org/officeDocument/2006/relationships/image" Target="../media/image15.emf"/><Relationship Id="rId2" Type="http://schemas.openxmlformats.org/officeDocument/2006/relationships/tags" Target="../tags/tag373.xml"/><Relationship Id="rId1" Type="http://schemas.openxmlformats.org/officeDocument/2006/relationships/vmlDrawing" Target="../drawings/vmlDrawing19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8.bin"/><Relationship Id="rId4" Type="http://schemas.openxmlformats.org/officeDocument/2006/relationships/slideMaster" Target="../slideMasters/slideMaster5.xml"/></Relationships>
</file>

<file path=ppt/slideLayouts/_rels/slideLayout2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76.xml"/><Relationship Id="rId7" Type="http://schemas.openxmlformats.org/officeDocument/2006/relationships/image" Target="../media/image15.emf"/><Relationship Id="rId2" Type="http://schemas.openxmlformats.org/officeDocument/2006/relationships/tags" Target="../tags/tag375.xml"/><Relationship Id="rId1" Type="http://schemas.openxmlformats.org/officeDocument/2006/relationships/vmlDrawing" Target="../drawings/vmlDrawing19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9.bin"/><Relationship Id="rId4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78.xml"/><Relationship Id="rId7" Type="http://schemas.openxmlformats.org/officeDocument/2006/relationships/image" Target="../media/image15.emf"/><Relationship Id="rId2" Type="http://schemas.openxmlformats.org/officeDocument/2006/relationships/tags" Target="../tags/tag377.xml"/><Relationship Id="rId1" Type="http://schemas.openxmlformats.org/officeDocument/2006/relationships/vmlDrawing" Target="../drawings/vmlDrawing19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0.bin"/><Relationship Id="rId4" Type="http://schemas.openxmlformats.org/officeDocument/2006/relationships/slideMaster" Target="../slideMasters/slideMaster5.xml"/></Relationships>
</file>

<file path=ppt/slideLayouts/_rels/slideLayout2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80.xml"/><Relationship Id="rId7" Type="http://schemas.openxmlformats.org/officeDocument/2006/relationships/image" Target="../media/image15.emf"/><Relationship Id="rId2" Type="http://schemas.openxmlformats.org/officeDocument/2006/relationships/tags" Target="../tags/tag379.xml"/><Relationship Id="rId1" Type="http://schemas.openxmlformats.org/officeDocument/2006/relationships/vmlDrawing" Target="../drawings/vmlDrawing19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1.bin"/><Relationship Id="rId4" Type="http://schemas.openxmlformats.org/officeDocument/2006/relationships/slideMaster" Target="../slideMasters/slideMaster5.xml"/></Relationships>
</file>

<file path=ppt/slideLayouts/_rels/slideLayout2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82.xml"/><Relationship Id="rId7" Type="http://schemas.openxmlformats.org/officeDocument/2006/relationships/image" Target="../media/image15.emf"/><Relationship Id="rId2" Type="http://schemas.openxmlformats.org/officeDocument/2006/relationships/tags" Target="../tags/tag381.xml"/><Relationship Id="rId1" Type="http://schemas.openxmlformats.org/officeDocument/2006/relationships/vmlDrawing" Target="../drawings/vmlDrawing19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2.bin"/><Relationship Id="rId4" Type="http://schemas.openxmlformats.org/officeDocument/2006/relationships/slideMaster" Target="../slideMasters/slideMaster5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tags" Target="../tags/tag384.xml"/><Relationship Id="rId7" Type="http://schemas.openxmlformats.org/officeDocument/2006/relationships/image" Target="../media/image15.emf"/><Relationship Id="rId2" Type="http://schemas.openxmlformats.org/officeDocument/2006/relationships/tags" Target="../tags/tag383.xml"/><Relationship Id="rId1" Type="http://schemas.openxmlformats.org/officeDocument/2006/relationships/vmlDrawing" Target="../drawings/vmlDrawing19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6.bin"/><Relationship Id="rId4" Type="http://schemas.openxmlformats.org/officeDocument/2006/relationships/slideMaster" Target="../slideMasters/slideMaster5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tags" Target="../tags/tag386.xml"/><Relationship Id="rId7" Type="http://schemas.openxmlformats.org/officeDocument/2006/relationships/image" Target="../media/image15.emf"/><Relationship Id="rId2" Type="http://schemas.openxmlformats.org/officeDocument/2006/relationships/tags" Target="../tags/tag385.xml"/><Relationship Id="rId1" Type="http://schemas.openxmlformats.org/officeDocument/2006/relationships/vmlDrawing" Target="../drawings/vmlDrawing19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6.bin"/><Relationship Id="rId4" Type="http://schemas.openxmlformats.org/officeDocument/2006/relationships/slideMaster" Target="../slideMasters/slideMaster5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tags" Target="../tags/tag388.xml"/><Relationship Id="rId7" Type="http://schemas.openxmlformats.org/officeDocument/2006/relationships/image" Target="../media/image9.png"/><Relationship Id="rId2" Type="http://schemas.openxmlformats.org/officeDocument/2006/relationships/tags" Target="../tags/tag387.xml"/><Relationship Id="rId1" Type="http://schemas.openxmlformats.org/officeDocument/2006/relationships/vmlDrawing" Target="../drawings/vmlDrawing19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3.bin"/><Relationship Id="rId4" Type="http://schemas.openxmlformats.org/officeDocument/2006/relationships/slideMaster" Target="../slideMasters/slideMaster5.xml"/></Relationships>
</file>

<file path=ppt/slideLayouts/_rels/slideLayout2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90.xml"/><Relationship Id="rId7" Type="http://schemas.openxmlformats.org/officeDocument/2006/relationships/image" Target="../media/image16.emf"/><Relationship Id="rId2" Type="http://schemas.openxmlformats.org/officeDocument/2006/relationships/tags" Target="../tags/tag389.xml"/><Relationship Id="rId1" Type="http://schemas.openxmlformats.org/officeDocument/2006/relationships/vmlDrawing" Target="../drawings/vmlDrawing20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4.bin"/><Relationship Id="rId4" Type="http://schemas.openxmlformats.org/officeDocument/2006/relationships/slideMaster" Target="../slideMasters/slideMaster5.xml"/></Relationships>
</file>

<file path=ppt/slideLayouts/_rels/slideLayout2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92.xml"/><Relationship Id="rId7" Type="http://schemas.openxmlformats.org/officeDocument/2006/relationships/image" Target="../media/image16.emf"/><Relationship Id="rId2" Type="http://schemas.openxmlformats.org/officeDocument/2006/relationships/tags" Target="../tags/tag391.xml"/><Relationship Id="rId1" Type="http://schemas.openxmlformats.org/officeDocument/2006/relationships/vmlDrawing" Target="../drawings/vmlDrawing20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5.bin"/><Relationship Id="rId4" Type="http://schemas.openxmlformats.org/officeDocument/2006/relationships/slideMaster" Target="../slideMasters/slideMaster5.xml"/></Relationships>
</file>

<file path=ppt/slideLayouts/_rels/slideLayout2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94.xml"/><Relationship Id="rId7" Type="http://schemas.openxmlformats.org/officeDocument/2006/relationships/image" Target="../media/image16.emf"/><Relationship Id="rId2" Type="http://schemas.openxmlformats.org/officeDocument/2006/relationships/tags" Target="../tags/tag393.xml"/><Relationship Id="rId1" Type="http://schemas.openxmlformats.org/officeDocument/2006/relationships/vmlDrawing" Target="../drawings/vmlDrawing20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6.bin"/><Relationship Id="rId4" Type="http://schemas.openxmlformats.org/officeDocument/2006/relationships/slideMaster" Target="../slideMasters/slideMaster5.xml"/></Relationships>
</file>

<file path=ppt/slideLayouts/_rels/slideLayout2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96.xml"/><Relationship Id="rId7" Type="http://schemas.openxmlformats.org/officeDocument/2006/relationships/image" Target="../media/image16.emf"/><Relationship Id="rId2" Type="http://schemas.openxmlformats.org/officeDocument/2006/relationships/tags" Target="../tags/tag395.xml"/><Relationship Id="rId1" Type="http://schemas.openxmlformats.org/officeDocument/2006/relationships/vmlDrawing" Target="../drawings/vmlDrawing20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7.bin"/><Relationship Id="rId4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98.xml"/><Relationship Id="rId7" Type="http://schemas.openxmlformats.org/officeDocument/2006/relationships/image" Target="../media/image16.emf"/><Relationship Id="rId2" Type="http://schemas.openxmlformats.org/officeDocument/2006/relationships/tags" Target="../tags/tag397.xml"/><Relationship Id="rId1" Type="http://schemas.openxmlformats.org/officeDocument/2006/relationships/vmlDrawing" Target="../drawings/vmlDrawing20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8.bin"/><Relationship Id="rId4" Type="http://schemas.openxmlformats.org/officeDocument/2006/relationships/slideMaster" Target="../slideMasters/slideMaster5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tags" Target="../tags/tag400.xml"/><Relationship Id="rId7" Type="http://schemas.openxmlformats.org/officeDocument/2006/relationships/image" Target="../media/image16.emf"/><Relationship Id="rId2" Type="http://schemas.openxmlformats.org/officeDocument/2006/relationships/tags" Target="../tags/tag399.xml"/><Relationship Id="rId1" Type="http://schemas.openxmlformats.org/officeDocument/2006/relationships/vmlDrawing" Target="../drawings/vmlDrawing20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6.bin"/><Relationship Id="rId4" Type="http://schemas.openxmlformats.org/officeDocument/2006/relationships/slideMaster" Target="../slideMasters/slideMaster5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tags" Target="../tags/tag402.xml"/><Relationship Id="rId7" Type="http://schemas.openxmlformats.org/officeDocument/2006/relationships/image" Target="../media/image16.emf"/><Relationship Id="rId2" Type="http://schemas.openxmlformats.org/officeDocument/2006/relationships/tags" Target="../tags/tag401.xml"/><Relationship Id="rId1" Type="http://schemas.openxmlformats.org/officeDocument/2006/relationships/vmlDrawing" Target="../drawings/vmlDrawing20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6.bin"/><Relationship Id="rId4" Type="http://schemas.openxmlformats.org/officeDocument/2006/relationships/slideMaster" Target="../slideMasters/slideMaster5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tags" Target="../tags/tag404.xml"/><Relationship Id="rId7" Type="http://schemas.openxmlformats.org/officeDocument/2006/relationships/image" Target="../media/image9.png"/><Relationship Id="rId2" Type="http://schemas.openxmlformats.org/officeDocument/2006/relationships/tags" Target="../tags/tag403.xml"/><Relationship Id="rId1" Type="http://schemas.openxmlformats.org/officeDocument/2006/relationships/vmlDrawing" Target="../drawings/vmlDrawing20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9.bin"/><Relationship Id="rId4" Type="http://schemas.openxmlformats.org/officeDocument/2006/relationships/slideMaster" Target="../slideMasters/slideMaster5.xml"/></Relationships>
</file>

<file path=ppt/slideLayouts/_rels/slideLayout2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406.xml"/><Relationship Id="rId7" Type="http://schemas.openxmlformats.org/officeDocument/2006/relationships/image" Target="../media/image16.emf"/><Relationship Id="rId2" Type="http://schemas.openxmlformats.org/officeDocument/2006/relationships/tags" Target="../tags/tag405.xml"/><Relationship Id="rId1" Type="http://schemas.openxmlformats.org/officeDocument/2006/relationships/vmlDrawing" Target="../drawings/vmlDrawing20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0.bin"/><Relationship Id="rId4" Type="http://schemas.openxmlformats.org/officeDocument/2006/relationships/slideMaster" Target="../slideMasters/slideMaster5.xml"/></Relationships>
</file>

<file path=ppt/slideLayouts/_rels/slideLayout2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408.xml"/><Relationship Id="rId7" Type="http://schemas.openxmlformats.org/officeDocument/2006/relationships/image" Target="../media/image16.emf"/><Relationship Id="rId2" Type="http://schemas.openxmlformats.org/officeDocument/2006/relationships/tags" Target="../tags/tag407.xml"/><Relationship Id="rId1" Type="http://schemas.openxmlformats.org/officeDocument/2006/relationships/vmlDrawing" Target="../drawings/vmlDrawing20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1.bin"/><Relationship Id="rId4" Type="http://schemas.openxmlformats.org/officeDocument/2006/relationships/slideMaster" Target="../slideMasters/slideMaster5.xml"/></Relationships>
</file>

<file path=ppt/slideLayouts/_rels/slideLayout2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410.xml"/><Relationship Id="rId7" Type="http://schemas.openxmlformats.org/officeDocument/2006/relationships/image" Target="../media/image16.emf"/><Relationship Id="rId2" Type="http://schemas.openxmlformats.org/officeDocument/2006/relationships/tags" Target="../tags/tag409.xml"/><Relationship Id="rId1" Type="http://schemas.openxmlformats.org/officeDocument/2006/relationships/vmlDrawing" Target="../drawings/vmlDrawing2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2.bin"/><Relationship Id="rId4" Type="http://schemas.openxmlformats.org/officeDocument/2006/relationships/slideMaster" Target="../slideMasters/slideMaster5.xml"/></Relationships>
</file>

<file path=ppt/slideLayouts/_rels/slideLayout2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412.xml"/><Relationship Id="rId7" Type="http://schemas.openxmlformats.org/officeDocument/2006/relationships/image" Target="../media/image16.emf"/><Relationship Id="rId2" Type="http://schemas.openxmlformats.org/officeDocument/2006/relationships/tags" Target="../tags/tag411.xml"/><Relationship Id="rId1" Type="http://schemas.openxmlformats.org/officeDocument/2006/relationships/vmlDrawing" Target="../drawings/vmlDrawing2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3.bin"/><Relationship Id="rId4" Type="http://schemas.openxmlformats.org/officeDocument/2006/relationships/slideMaster" Target="../slideMasters/slideMaster5.xml"/></Relationships>
</file>

<file path=ppt/slideLayouts/_rels/slideLayout2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414.xml"/><Relationship Id="rId7" Type="http://schemas.openxmlformats.org/officeDocument/2006/relationships/image" Target="../media/image16.emf"/><Relationship Id="rId2" Type="http://schemas.openxmlformats.org/officeDocument/2006/relationships/tags" Target="../tags/tag413.xml"/><Relationship Id="rId1" Type="http://schemas.openxmlformats.org/officeDocument/2006/relationships/vmlDrawing" Target="../drawings/vmlDrawing2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4.bin"/><Relationship Id="rId4" Type="http://schemas.openxmlformats.org/officeDocument/2006/relationships/slideMaster" Target="../slideMasters/slideMaster5.xml"/></Relationships>
</file>

<file path=ppt/slideLayouts/_rels/slideLayout2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tags" Target="../tags/tag416.xml"/><Relationship Id="rId7" Type="http://schemas.openxmlformats.org/officeDocument/2006/relationships/image" Target="../media/image15.emf"/><Relationship Id="rId2" Type="http://schemas.openxmlformats.org/officeDocument/2006/relationships/tags" Target="../tags/tag415.xml"/><Relationship Id="rId1" Type="http://schemas.openxmlformats.org/officeDocument/2006/relationships/vmlDrawing" Target="../drawings/vmlDrawing2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6.bin"/><Relationship Id="rId4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tags" Target="../tags/tag418.xml"/><Relationship Id="rId7" Type="http://schemas.openxmlformats.org/officeDocument/2006/relationships/image" Target="../media/image9.png"/><Relationship Id="rId2" Type="http://schemas.openxmlformats.org/officeDocument/2006/relationships/tags" Target="../tags/tag417.xml"/><Relationship Id="rId1" Type="http://schemas.openxmlformats.org/officeDocument/2006/relationships/vmlDrawing" Target="../drawings/vmlDrawing2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5.bin"/><Relationship Id="rId4" Type="http://schemas.openxmlformats.org/officeDocument/2006/relationships/slideMaster" Target="../slideMasters/slideMaster5.xml"/></Relationships>
</file>

<file path=ppt/slideLayouts/_rels/slideLayout2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420.xml"/><Relationship Id="rId7" Type="http://schemas.openxmlformats.org/officeDocument/2006/relationships/image" Target="../media/image16.emf"/><Relationship Id="rId2" Type="http://schemas.openxmlformats.org/officeDocument/2006/relationships/tags" Target="../tags/tag419.xml"/><Relationship Id="rId1" Type="http://schemas.openxmlformats.org/officeDocument/2006/relationships/vmlDrawing" Target="../drawings/vmlDrawing2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6.bin"/><Relationship Id="rId4" Type="http://schemas.openxmlformats.org/officeDocument/2006/relationships/slideMaster" Target="../slideMasters/slideMaster5.xml"/></Relationships>
</file>

<file path=ppt/slideLayouts/_rels/slideLayout2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422.xml"/><Relationship Id="rId7" Type="http://schemas.openxmlformats.org/officeDocument/2006/relationships/image" Target="../media/image16.emf"/><Relationship Id="rId2" Type="http://schemas.openxmlformats.org/officeDocument/2006/relationships/tags" Target="../tags/tag421.xml"/><Relationship Id="rId1" Type="http://schemas.openxmlformats.org/officeDocument/2006/relationships/vmlDrawing" Target="../drawings/vmlDrawing2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7.bin"/><Relationship Id="rId4" Type="http://schemas.openxmlformats.org/officeDocument/2006/relationships/slideMaster" Target="../slideMasters/slideMaster5.xml"/></Relationships>
</file>

<file path=ppt/slideLayouts/_rels/slideLayout2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424.xml"/><Relationship Id="rId7" Type="http://schemas.openxmlformats.org/officeDocument/2006/relationships/image" Target="../media/image16.emf"/><Relationship Id="rId2" Type="http://schemas.openxmlformats.org/officeDocument/2006/relationships/tags" Target="../tags/tag423.xml"/><Relationship Id="rId1" Type="http://schemas.openxmlformats.org/officeDocument/2006/relationships/vmlDrawing" Target="../drawings/vmlDrawing2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8.bin"/><Relationship Id="rId4" Type="http://schemas.openxmlformats.org/officeDocument/2006/relationships/slideMaster" Target="../slideMasters/slideMaster5.xml"/></Relationships>
</file>

<file path=ppt/slideLayouts/_rels/slideLayout2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426.xml"/><Relationship Id="rId7" Type="http://schemas.openxmlformats.org/officeDocument/2006/relationships/image" Target="../media/image16.emf"/><Relationship Id="rId2" Type="http://schemas.openxmlformats.org/officeDocument/2006/relationships/tags" Target="../tags/tag425.xml"/><Relationship Id="rId1" Type="http://schemas.openxmlformats.org/officeDocument/2006/relationships/vmlDrawing" Target="../drawings/vmlDrawing2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9.bin"/><Relationship Id="rId4" Type="http://schemas.openxmlformats.org/officeDocument/2006/relationships/slideMaster" Target="../slideMasters/slideMaster5.xml"/></Relationships>
</file>

<file path=ppt/slideLayouts/_rels/slideLayout2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428.xml"/><Relationship Id="rId7" Type="http://schemas.openxmlformats.org/officeDocument/2006/relationships/image" Target="../media/image16.emf"/><Relationship Id="rId2" Type="http://schemas.openxmlformats.org/officeDocument/2006/relationships/tags" Target="../tags/tag427.xml"/><Relationship Id="rId1" Type="http://schemas.openxmlformats.org/officeDocument/2006/relationships/vmlDrawing" Target="../drawings/vmlDrawing2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0.bin"/><Relationship Id="rId4" Type="http://schemas.openxmlformats.org/officeDocument/2006/relationships/slideMaster" Target="../slideMasters/slideMaster5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tags" Target="../tags/tag430.xml"/><Relationship Id="rId7" Type="http://schemas.openxmlformats.org/officeDocument/2006/relationships/image" Target="../media/image16.emf"/><Relationship Id="rId2" Type="http://schemas.openxmlformats.org/officeDocument/2006/relationships/tags" Target="../tags/tag429.xml"/><Relationship Id="rId1" Type="http://schemas.openxmlformats.org/officeDocument/2006/relationships/vmlDrawing" Target="../drawings/vmlDrawing2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6.bin"/><Relationship Id="rId4" Type="http://schemas.openxmlformats.org/officeDocument/2006/relationships/slideMaster" Target="../slideMasters/slideMaster5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tags" Target="../tags/tag432.xml"/><Relationship Id="rId7" Type="http://schemas.openxmlformats.org/officeDocument/2006/relationships/image" Target="../media/image16.emf"/><Relationship Id="rId2" Type="http://schemas.openxmlformats.org/officeDocument/2006/relationships/tags" Target="../tags/tag431.xml"/><Relationship Id="rId1" Type="http://schemas.openxmlformats.org/officeDocument/2006/relationships/vmlDrawing" Target="../drawings/vmlDrawing2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6.bin"/><Relationship Id="rId4" Type="http://schemas.openxmlformats.org/officeDocument/2006/relationships/slideMaster" Target="../slideMasters/slideMaster5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tags" Target="../tags/tag434.xml"/><Relationship Id="rId2" Type="http://schemas.openxmlformats.org/officeDocument/2006/relationships/tags" Target="../tags/tag433.xml"/><Relationship Id="rId1" Type="http://schemas.openxmlformats.org/officeDocument/2006/relationships/vmlDrawing" Target="../drawings/vmlDrawing2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1.bin"/><Relationship Id="rId4" Type="http://schemas.openxmlformats.org/officeDocument/2006/relationships/slideMaster" Target="../slideMasters/slideMaster5.xml"/></Relationships>
</file>

<file path=ppt/slideLayouts/_rels/slideLayout2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tags" Target="../tags/tag436.xml"/><Relationship Id="rId7" Type="http://schemas.openxmlformats.org/officeDocument/2006/relationships/image" Target="../media/image1.emf"/><Relationship Id="rId2" Type="http://schemas.openxmlformats.org/officeDocument/2006/relationships/tags" Target="../tags/tag435.xml"/><Relationship Id="rId1" Type="http://schemas.openxmlformats.org/officeDocument/2006/relationships/vmlDrawing" Target="../drawings/vmlDrawing223.vml"/><Relationship Id="rId6" Type="http://schemas.openxmlformats.org/officeDocument/2006/relationships/oleObject" Target="../embeddings/oleObject111.bin"/><Relationship Id="rId5" Type="http://schemas.openxmlformats.org/officeDocument/2006/relationships/image" Target="../media/image17.emf"/><Relationship Id="rId10" Type="http://schemas.openxmlformats.org/officeDocument/2006/relationships/image" Target="../media/image19.emf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3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7" Type="http://schemas.openxmlformats.org/officeDocument/2006/relationships/image" Target="../media/image3.emf"/><Relationship Id="rId2" Type="http://schemas.openxmlformats.org/officeDocument/2006/relationships/tags" Target="../tags/tag49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438.xml"/><Relationship Id="rId7" Type="http://schemas.openxmlformats.org/officeDocument/2006/relationships/image" Target="../media/image18.emf"/><Relationship Id="rId2" Type="http://schemas.openxmlformats.org/officeDocument/2006/relationships/tags" Target="../tags/tag437.xml"/><Relationship Id="rId1" Type="http://schemas.openxmlformats.org/officeDocument/2006/relationships/vmlDrawing" Target="../drawings/vmlDrawing2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1.bin"/><Relationship Id="rId10" Type="http://schemas.openxmlformats.org/officeDocument/2006/relationships/image" Target="../media/image20.emf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19.emf"/></Relationships>
</file>

<file path=ppt/slideLayouts/_rels/slideLayout2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440.xml"/><Relationship Id="rId7" Type="http://schemas.openxmlformats.org/officeDocument/2006/relationships/image" Target="../media/image18.emf"/><Relationship Id="rId2" Type="http://schemas.openxmlformats.org/officeDocument/2006/relationships/tags" Target="../tags/tag439.xml"/><Relationship Id="rId1" Type="http://schemas.openxmlformats.org/officeDocument/2006/relationships/vmlDrawing" Target="../drawings/vmlDrawing2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1.bin"/><Relationship Id="rId10" Type="http://schemas.openxmlformats.org/officeDocument/2006/relationships/image" Target="../media/image19.emf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17.emf"/></Relationships>
</file>

<file path=ppt/slideLayouts/_rels/slideLayout2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442.xml"/><Relationship Id="rId7" Type="http://schemas.openxmlformats.org/officeDocument/2006/relationships/image" Target="../media/image18.emf"/><Relationship Id="rId2" Type="http://schemas.openxmlformats.org/officeDocument/2006/relationships/tags" Target="../tags/tag441.xml"/><Relationship Id="rId1" Type="http://schemas.openxmlformats.org/officeDocument/2006/relationships/vmlDrawing" Target="../drawings/vmlDrawing226.vml"/><Relationship Id="rId6" Type="http://schemas.openxmlformats.org/officeDocument/2006/relationships/image" Target="../media/image1.emf"/><Relationship Id="rId11" Type="http://schemas.openxmlformats.org/officeDocument/2006/relationships/image" Target="../media/image19.emf"/><Relationship Id="rId5" Type="http://schemas.openxmlformats.org/officeDocument/2006/relationships/oleObject" Target="../embeddings/oleObject111.bin"/><Relationship Id="rId10" Type="http://schemas.openxmlformats.org/officeDocument/2006/relationships/image" Target="../media/image20.emf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17.emf"/></Relationships>
</file>

<file path=ppt/slideLayouts/_rels/slideLayout2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444.xml"/><Relationship Id="rId7" Type="http://schemas.openxmlformats.org/officeDocument/2006/relationships/image" Target="../media/image18.emf"/><Relationship Id="rId2" Type="http://schemas.openxmlformats.org/officeDocument/2006/relationships/tags" Target="../tags/tag443.xml"/><Relationship Id="rId1" Type="http://schemas.openxmlformats.org/officeDocument/2006/relationships/vmlDrawing" Target="../drawings/vmlDrawing2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1.bin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17.emf"/></Relationships>
</file>

<file path=ppt/slideLayouts/_rels/slideLayout2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446.xml"/><Relationship Id="rId7" Type="http://schemas.openxmlformats.org/officeDocument/2006/relationships/image" Target="../media/image18.emf"/><Relationship Id="rId2" Type="http://schemas.openxmlformats.org/officeDocument/2006/relationships/tags" Target="../tags/tag445.xml"/><Relationship Id="rId1" Type="http://schemas.openxmlformats.org/officeDocument/2006/relationships/vmlDrawing" Target="../drawings/vmlDrawing2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1.bin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20.emf"/></Relationships>
</file>

<file path=ppt/slideLayouts/_rels/slideLayout2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448.xml"/><Relationship Id="rId7" Type="http://schemas.openxmlformats.org/officeDocument/2006/relationships/image" Target="../media/image18.emf"/><Relationship Id="rId2" Type="http://schemas.openxmlformats.org/officeDocument/2006/relationships/tags" Target="../tags/tag447.xml"/><Relationship Id="rId1" Type="http://schemas.openxmlformats.org/officeDocument/2006/relationships/vmlDrawing" Target="../drawings/vmlDrawing2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1.bin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17.emf"/></Relationships>
</file>

<file path=ppt/slideLayouts/_rels/slideLayout2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450.xml"/><Relationship Id="rId7" Type="http://schemas.openxmlformats.org/officeDocument/2006/relationships/image" Target="../media/image18.emf"/><Relationship Id="rId2" Type="http://schemas.openxmlformats.org/officeDocument/2006/relationships/tags" Target="../tags/tag449.xml"/><Relationship Id="rId1" Type="http://schemas.openxmlformats.org/officeDocument/2006/relationships/vmlDrawing" Target="../drawings/vmlDrawing2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1.bin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20.emf"/></Relationships>
</file>

<file path=ppt/slideLayouts/_rels/slideLayout2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452.xml"/><Relationship Id="rId7" Type="http://schemas.openxmlformats.org/officeDocument/2006/relationships/image" Target="../media/image18.emf"/><Relationship Id="rId2" Type="http://schemas.openxmlformats.org/officeDocument/2006/relationships/tags" Target="../tags/tag451.xml"/><Relationship Id="rId1" Type="http://schemas.openxmlformats.org/officeDocument/2006/relationships/vmlDrawing" Target="../drawings/vmlDrawing2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1.bin"/><Relationship Id="rId10" Type="http://schemas.openxmlformats.org/officeDocument/2006/relationships/image" Target="../media/image19.emf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17.emf"/></Relationships>
</file>

<file path=ppt/slideLayouts/_rels/slideLayout2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454.xml"/><Relationship Id="rId7" Type="http://schemas.openxmlformats.org/officeDocument/2006/relationships/image" Target="../media/image18.emf"/><Relationship Id="rId2" Type="http://schemas.openxmlformats.org/officeDocument/2006/relationships/tags" Target="../tags/tag453.xml"/><Relationship Id="rId1" Type="http://schemas.openxmlformats.org/officeDocument/2006/relationships/vmlDrawing" Target="../drawings/vmlDrawing2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1.bin"/><Relationship Id="rId10" Type="http://schemas.openxmlformats.org/officeDocument/2006/relationships/image" Target="../media/image19.emf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20.emf"/></Relationships>
</file>

<file path=ppt/slideLayouts/_rels/slideLayout2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456.xml"/><Relationship Id="rId7" Type="http://schemas.openxmlformats.org/officeDocument/2006/relationships/image" Target="../media/image18.emf"/><Relationship Id="rId2" Type="http://schemas.openxmlformats.org/officeDocument/2006/relationships/tags" Target="../tags/tag455.xml"/><Relationship Id="rId1" Type="http://schemas.openxmlformats.org/officeDocument/2006/relationships/vmlDrawing" Target="../drawings/vmlDrawing2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1.bin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17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image" Target="../media/image3.emf"/><Relationship Id="rId2" Type="http://schemas.openxmlformats.org/officeDocument/2006/relationships/tags" Target="../tags/tag51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458.xml"/><Relationship Id="rId7" Type="http://schemas.openxmlformats.org/officeDocument/2006/relationships/image" Target="../media/image18.emf"/><Relationship Id="rId2" Type="http://schemas.openxmlformats.org/officeDocument/2006/relationships/tags" Target="../tags/tag457.xml"/><Relationship Id="rId1" Type="http://schemas.openxmlformats.org/officeDocument/2006/relationships/vmlDrawing" Target="../drawings/vmlDrawing2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1.bin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20.emf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tags" Target="../tags/tag460.xml"/><Relationship Id="rId2" Type="http://schemas.openxmlformats.org/officeDocument/2006/relationships/tags" Target="../tags/tag459.xml"/><Relationship Id="rId1" Type="http://schemas.openxmlformats.org/officeDocument/2006/relationships/vmlDrawing" Target="../drawings/vmlDrawing2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1.bin"/><Relationship Id="rId4" Type="http://schemas.openxmlformats.org/officeDocument/2006/relationships/slideMaster" Target="../slideMasters/slideMaster5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tags" Target="../tags/tag462.xml"/><Relationship Id="rId2" Type="http://schemas.openxmlformats.org/officeDocument/2006/relationships/tags" Target="../tags/tag461.xml"/><Relationship Id="rId1" Type="http://schemas.openxmlformats.org/officeDocument/2006/relationships/vmlDrawing" Target="../drawings/vmlDrawing2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1.bin"/><Relationship Id="rId4" Type="http://schemas.openxmlformats.org/officeDocument/2006/relationships/slideMaster" Target="../slideMasters/slideMaster5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tags" Target="../tags/tag464.xml"/><Relationship Id="rId2" Type="http://schemas.openxmlformats.org/officeDocument/2006/relationships/tags" Target="../tags/tag463.xml"/><Relationship Id="rId1" Type="http://schemas.openxmlformats.org/officeDocument/2006/relationships/vmlDrawing" Target="../drawings/vmlDrawing2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1.bin"/><Relationship Id="rId4" Type="http://schemas.openxmlformats.org/officeDocument/2006/relationships/slideMaster" Target="../slideMasters/slideMaster5.xml"/></Relationships>
</file>

<file path=ppt/slideLayouts/_rels/slideLayout2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svg"/><Relationship Id="rId3" Type="http://schemas.openxmlformats.org/officeDocument/2006/relationships/tags" Target="../tags/tag466.xml"/><Relationship Id="rId7" Type="http://schemas.openxmlformats.org/officeDocument/2006/relationships/image" Target="../media/image7.png"/><Relationship Id="rId2" Type="http://schemas.openxmlformats.org/officeDocument/2006/relationships/tags" Target="../tags/tag465.xml"/><Relationship Id="rId1" Type="http://schemas.openxmlformats.org/officeDocument/2006/relationships/vmlDrawing" Target="../drawings/vmlDrawing2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2.bin"/><Relationship Id="rId4" Type="http://schemas.openxmlformats.org/officeDocument/2006/relationships/slideMaster" Target="../slideMasters/slideMaster5.xml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tags" Target="../tags/tag468.xml"/><Relationship Id="rId2" Type="http://schemas.openxmlformats.org/officeDocument/2006/relationships/tags" Target="../tags/tag467.xml"/><Relationship Id="rId1" Type="http://schemas.openxmlformats.org/officeDocument/2006/relationships/vmlDrawing" Target="../drawings/vmlDrawing2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6.bin"/><Relationship Id="rId4" Type="http://schemas.openxmlformats.org/officeDocument/2006/relationships/slideMaster" Target="../slideMasters/slideMaster5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7" Type="http://schemas.openxmlformats.org/officeDocument/2006/relationships/image" Target="../media/image3.emf"/><Relationship Id="rId2" Type="http://schemas.openxmlformats.org/officeDocument/2006/relationships/tags" Target="../tags/tag53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svg"/><Relationship Id="rId3" Type="http://schemas.openxmlformats.org/officeDocument/2006/relationships/tags" Target="../tags/tag470.xml"/><Relationship Id="rId7" Type="http://schemas.openxmlformats.org/officeDocument/2006/relationships/image" Target="../media/image7.png"/><Relationship Id="rId2" Type="http://schemas.openxmlformats.org/officeDocument/2006/relationships/tags" Target="../tags/tag469.xml"/><Relationship Id="rId1" Type="http://schemas.openxmlformats.org/officeDocument/2006/relationships/vmlDrawing" Target="../drawings/vmlDrawing2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3.bin"/><Relationship Id="rId4" Type="http://schemas.openxmlformats.org/officeDocument/2006/relationships/slideMaster" Target="../slideMasters/slideMaster5.xml"/></Relationships>
</file>

<file path=ppt/slideLayouts/_rels/slideLayout2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svg"/><Relationship Id="rId3" Type="http://schemas.openxmlformats.org/officeDocument/2006/relationships/tags" Target="../tags/tag472.xml"/><Relationship Id="rId7" Type="http://schemas.openxmlformats.org/officeDocument/2006/relationships/image" Target="../media/image7.png"/><Relationship Id="rId2" Type="http://schemas.openxmlformats.org/officeDocument/2006/relationships/tags" Target="../tags/tag471.xml"/><Relationship Id="rId1" Type="http://schemas.openxmlformats.org/officeDocument/2006/relationships/vmlDrawing" Target="../drawings/vmlDrawing2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4.bin"/><Relationship Id="rId4" Type="http://schemas.openxmlformats.org/officeDocument/2006/relationships/slideMaster" Target="../slideMasters/slideMaster5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image" Target="../media/image3.emf"/><Relationship Id="rId2" Type="http://schemas.openxmlformats.org/officeDocument/2006/relationships/tags" Target="../tags/tag55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9.png"/><Relationship Id="rId2" Type="http://schemas.openxmlformats.org/officeDocument/2006/relationships/tags" Target="../tags/tag473.xml"/><Relationship Id="rId1" Type="http://schemas.openxmlformats.org/officeDocument/2006/relationships/vmlDrawing" Target="../drawings/vmlDrawing242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5.bin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9.png"/><Relationship Id="rId2" Type="http://schemas.openxmlformats.org/officeDocument/2006/relationships/tags" Target="../tags/tag474.xml"/><Relationship Id="rId1" Type="http://schemas.openxmlformats.org/officeDocument/2006/relationships/vmlDrawing" Target="../drawings/vmlDrawing243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6.bin"/></Relationships>
</file>

<file path=ppt/slideLayouts/_rels/slideLayout2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Master" Target="../slideMasters/slideMaster5.xml"/><Relationship Id="rId7" Type="http://schemas.microsoft.com/office/2007/relationships/hdphoto" Target="../media/hdphoto1.wdp"/><Relationship Id="rId2" Type="http://schemas.openxmlformats.org/officeDocument/2006/relationships/tags" Target="../tags/tag475.xml"/><Relationship Id="rId1" Type="http://schemas.openxmlformats.org/officeDocument/2006/relationships/vmlDrawing" Target="../drawings/vmlDrawing244.v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7.bin"/><Relationship Id="rId9" Type="http://schemas.openxmlformats.org/officeDocument/2006/relationships/image" Target="../media/image9.png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7" Type="http://schemas.openxmlformats.org/officeDocument/2006/relationships/image" Target="../media/image9.png"/><Relationship Id="rId2" Type="http://schemas.openxmlformats.org/officeDocument/2006/relationships/tags" Target="../tags/tag57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5.xml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tags" Target="../tags/tag477.xml"/><Relationship Id="rId2" Type="http://schemas.openxmlformats.org/officeDocument/2006/relationships/tags" Target="../tags/tag476.xml"/><Relationship Id="rId1" Type="http://schemas.openxmlformats.org/officeDocument/2006/relationships/vmlDrawing" Target="../drawings/vmlDrawing2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8.bin"/><Relationship Id="rId4" Type="http://schemas.openxmlformats.org/officeDocument/2006/relationships/slideMaster" Target="../slideMasters/slideMaster5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60.xml"/><Relationship Id="rId7" Type="http://schemas.openxmlformats.org/officeDocument/2006/relationships/image" Target="../media/image15.emf"/><Relationship Id="rId2" Type="http://schemas.openxmlformats.org/officeDocument/2006/relationships/tags" Target="../tags/tag59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62.xml"/><Relationship Id="rId7" Type="http://schemas.openxmlformats.org/officeDocument/2006/relationships/image" Target="../media/image15.emf"/><Relationship Id="rId2" Type="http://schemas.openxmlformats.org/officeDocument/2006/relationships/tags" Target="../tags/tag61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64.xml"/><Relationship Id="rId7" Type="http://schemas.openxmlformats.org/officeDocument/2006/relationships/image" Target="../media/image15.emf"/><Relationship Id="rId2" Type="http://schemas.openxmlformats.org/officeDocument/2006/relationships/tags" Target="../tags/tag63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66.xml"/><Relationship Id="rId7" Type="http://schemas.openxmlformats.org/officeDocument/2006/relationships/image" Target="../media/image15.emf"/><Relationship Id="rId2" Type="http://schemas.openxmlformats.org/officeDocument/2006/relationships/tags" Target="../tags/tag6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68.xml"/><Relationship Id="rId7" Type="http://schemas.openxmlformats.org/officeDocument/2006/relationships/image" Target="../media/image15.emf"/><Relationship Id="rId2" Type="http://schemas.openxmlformats.org/officeDocument/2006/relationships/tags" Target="../tags/tag67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7" Type="http://schemas.openxmlformats.org/officeDocument/2006/relationships/image" Target="../media/image15.emf"/><Relationship Id="rId2" Type="http://schemas.openxmlformats.org/officeDocument/2006/relationships/tags" Target="../tags/tag69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7" Type="http://schemas.openxmlformats.org/officeDocument/2006/relationships/image" Target="../media/image15.emf"/><Relationship Id="rId2" Type="http://schemas.openxmlformats.org/officeDocument/2006/relationships/tags" Target="../tags/tag71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7" Type="http://schemas.openxmlformats.org/officeDocument/2006/relationships/image" Target="../media/image9.png"/><Relationship Id="rId2" Type="http://schemas.openxmlformats.org/officeDocument/2006/relationships/tags" Target="../tags/tag73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76.xml"/><Relationship Id="rId7" Type="http://schemas.openxmlformats.org/officeDocument/2006/relationships/image" Target="../media/image16.emf"/><Relationship Id="rId2" Type="http://schemas.openxmlformats.org/officeDocument/2006/relationships/tags" Target="../tags/tag75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78.xml"/><Relationship Id="rId7" Type="http://schemas.openxmlformats.org/officeDocument/2006/relationships/image" Target="../media/image16.emf"/><Relationship Id="rId2" Type="http://schemas.openxmlformats.org/officeDocument/2006/relationships/tags" Target="../tags/tag77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80.xml"/><Relationship Id="rId7" Type="http://schemas.openxmlformats.org/officeDocument/2006/relationships/image" Target="../media/image16.emf"/><Relationship Id="rId2" Type="http://schemas.openxmlformats.org/officeDocument/2006/relationships/tags" Target="../tags/tag79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82.xml"/><Relationship Id="rId7" Type="http://schemas.openxmlformats.org/officeDocument/2006/relationships/image" Target="../media/image16.emf"/><Relationship Id="rId2" Type="http://schemas.openxmlformats.org/officeDocument/2006/relationships/tags" Target="../tags/tag81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84.xml"/><Relationship Id="rId7" Type="http://schemas.openxmlformats.org/officeDocument/2006/relationships/image" Target="../media/image16.emf"/><Relationship Id="rId2" Type="http://schemas.openxmlformats.org/officeDocument/2006/relationships/tags" Target="../tags/tag83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7" Type="http://schemas.openxmlformats.org/officeDocument/2006/relationships/image" Target="../media/image16.emf"/><Relationship Id="rId2" Type="http://schemas.openxmlformats.org/officeDocument/2006/relationships/tags" Target="../tags/tag8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7" Type="http://schemas.openxmlformats.org/officeDocument/2006/relationships/image" Target="../media/image16.emf"/><Relationship Id="rId2" Type="http://schemas.openxmlformats.org/officeDocument/2006/relationships/tags" Target="../tags/tag87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90.xml"/><Relationship Id="rId7" Type="http://schemas.openxmlformats.org/officeDocument/2006/relationships/image" Target="../media/image9.png"/><Relationship Id="rId2" Type="http://schemas.openxmlformats.org/officeDocument/2006/relationships/tags" Target="../tags/tag89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92.xml"/><Relationship Id="rId7" Type="http://schemas.openxmlformats.org/officeDocument/2006/relationships/image" Target="../media/image16.emf"/><Relationship Id="rId2" Type="http://schemas.openxmlformats.org/officeDocument/2006/relationships/tags" Target="../tags/tag91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94.xml"/><Relationship Id="rId7" Type="http://schemas.openxmlformats.org/officeDocument/2006/relationships/image" Target="../media/image16.emf"/><Relationship Id="rId2" Type="http://schemas.openxmlformats.org/officeDocument/2006/relationships/tags" Target="../tags/tag93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96.xml"/><Relationship Id="rId7" Type="http://schemas.openxmlformats.org/officeDocument/2006/relationships/image" Target="../media/image16.emf"/><Relationship Id="rId2" Type="http://schemas.openxmlformats.org/officeDocument/2006/relationships/tags" Target="../tags/tag95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98.xml"/><Relationship Id="rId7" Type="http://schemas.openxmlformats.org/officeDocument/2006/relationships/image" Target="../media/image16.emf"/><Relationship Id="rId2" Type="http://schemas.openxmlformats.org/officeDocument/2006/relationships/tags" Target="../tags/tag97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00.xml"/><Relationship Id="rId7" Type="http://schemas.openxmlformats.org/officeDocument/2006/relationships/image" Target="../media/image16.emf"/><Relationship Id="rId2" Type="http://schemas.openxmlformats.org/officeDocument/2006/relationships/tags" Target="../tags/tag99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tags" Target="../tags/tag102.xml"/><Relationship Id="rId7" Type="http://schemas.openxmlformats.org/officeDocument/2006/relationships/image" Target="../media/image15.emf"/><Relationship Id="rId2" Type="http://schemas.openxmlformats.org/officeDocument/2006/relationships/tags" Target="../tags/tag101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7" Type="http://schemas.openxmlformats.org/officeDocument/2006/relationships/image" Target="../media/image9.png"/><Relationship Id="rId2" Type="http://schemas.openxmlformats.org/officeDocument/2006/relationships/tags" Target="../tags/tag103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06.xml"/><Relationship Id="rId7" Type="http://schemas.openxmlformats.org/officeDocument/2006/relationships/image" Target="../media/image16.emf"/><Relationship Id="rId2" Type="http://schemas.openxmlformats.org/officeDocument/2006/relationships/tags" Target="../tags/tag105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08.xml"/><Relationship Id="rId7" Type="http://schemas.openxmlformats.org/officeDocument/2006/relationships/image" Target="../media/image16.emf"/><Relationship Id="rId2" Type="http://schemas.openxmlformats.org/officeDocument/2006/relationships/tags" Target="../tags/tag107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10.xml"/><Relationship Id="rId7" Type="http://schemas.openxmlformats.org/officeDocument/2006/relationships/image" Target="../media/image16.emf"/><Relationship Id="rId2" Type="http://schemas.openxmlformats.org/officeDocument/2006/relationships/tags" Target="../tags/tag109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12.xml"/><Relationship Id="rId7" Type="http://schemas.openxmlformats.org/officeDocument/2006/relationships/image" Target="../media/image16.emf"/><Relationship Id="rId2" Type="http://schemas.openxmlformats.org/officeDocument/2006/relationships/tags" Target="../tags/tag111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14.xml"/><Relationship Id="rId7" Type="http://schemas.openxmlformats.org/officeDocument/2006/relationships/image" Target="../media/image16.emf"/><Relationship Id="rId2" Type="http://schemas.openxmlformats.org/officeDocument/2006/relationships/tags" Target="../tags/tag113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116.xml"/><Relationship Id="rId7" Type="http://schemas.openxmlformats.org/officeDocument/2006/relationships/image" Target="../media/image16.emf"/><Relationship Id="rId2" Type="http://schemas.openxmlformats.org/officeDocument/2006/relationships/tags" Target="../tags/tag115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tags" Target="../tags/tag13.xml"/><Relationship Id="rId7" Type="http://schemas.openxmlformats.org/officeDocument/2006/relationships/image" Target="../media/image7.png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7" Type="http://schemas.openxmlformats.org/officeDocument/2006/relationships/image" Target="../media/image16.emf"/><Relationship Id="rId2" Type="http://schemas.openxmlformats.org/officeDocument/2006/relationships/tags" Target="../tags/tag117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120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tags" Target="../tags/tag122.xml"/><Relationship Id="rId7" Type="http://schemas.openxmlformats.org/officeDocument/2006/relationships/image" Target="../media/image1.emf"/><Relationship Id="rId2" Type="http://schemas.openxmlformats.org/officeDocument/2006/relationships/tags" Target="../tags/tag121.xml"/><Relationship Id="rId1" Type="http://schemas.openxmlformats.org/officeDocument/2006/relationships/vmlDrawing" Target="../drawings/vmlDrawing62.vml"/><Relationship Id="rId6" Type="http://schemas.openxmlformats.org/officeDocument/2006/relationships/oleObject" Target="../embeddings/oleObject15.bin"/><Relationship Id="rId5" Type="http://schemas.openxmlformats.org/officeDocument/2006/relationships/image" Target="../media/image17.emf"/><Relationship Id="rId10" Type="http://schemas.openxmlformats.org/officeDocument/2006/relationships/image" Target="../media/image19.emf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3.emf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24.xml"/><Relationship Id="rId7" Type="http://schemas.openxmlformats.org/officeDocument/2006/relationships/image" Target="../media/image18.emf"/><Relationship Id="rId2" Type="http://schemas.openxmlformats.org/officeDocument/2006/relationships/tags" Target="../tags/tag123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20.emf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9.emf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26.xml"/><Relationship Id="rId7" Type="http://schemas.openxmlformats.org/officeDocument/2006/relationships/image" Target="../media/image18.emf"/><Relationship Id="rId2" Type="http://schemas.openxmlformats.org/officeDocument/2006/relationships/tags" Target="../tags/tag125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19.emf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7.emf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28.xml"/><Relationship Id="rId7" Type="http://schemas.openxmlformats.org/officeDocument/2006/relationships/image" Target="../media/image18.emf"/><Relationship Id="rId2" Type="http://schemas.openxmlformats.org/officeDocument/2006/relationships/tags" Target="../tags/tag127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.emf"/><Relationship Id="rId11" Type="http://schemas.openxmlformats.org/officeDocument/2006/relationships/image" Target="../media/image19.emf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20.emf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7.emf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30.xml"/><Relationship Id="rId7" Type="http://schemas.openxmlformats.org/officeDocument/2006/relationships/image" Target="../media/image18.emf"/><Relationship Id="rId2" Type="http://schemas.openxmlformats.org/officeDocument/2006/relationships/tags" Target="../tags/tag129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7.emf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32.xml"/><Relationship Id="rId7" Type="http://schemas.openxmlformats.org/officeDocument/2006/relationships/image" Target="../media/image18.emf"/><Relationship Id="rId2" Type="http://schemas.openxmlformats.org/officeDocument/2006/relationships/tags" Target="../tags/tag131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20.emf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34.xml"/><Relationship Id="rId7" Type="http://schemas.openxmlformats.org/officeDocument/2006/relationships/image" Target="../media/image18.emf"/><Relationship Id="rId2" Type="http://schemas.openxmlformats.org/officeDocument/2006/relationships/tags" Target="../tags/tag133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7.emf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36.xml"/><Relationship Id="rId7" Type="http://schemas.openxmlformats.org/officeDocument/2006/relationships/image" Target="../media/image18.emf"/><Relationship Id="rId2" Type="http://schemas.openxmlformats.org/officeDocument/2006/relationships/tags" Target="../tags/tag135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20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38.xml"/><Relationship Id="rId7" Type="http://schemas.openxmlformats.org/officeDocument/2006/relationships/image" Target="../media/image18.emf"/><Relationship Id="rId2" Type="http://schemas.openxmlformats.org/officeDocument/2006/relationships/tags" Target="../tags/tag137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19.emf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7.emf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40.xml"/><Relationship Id="rId7" Type="http://schemas.openxmlformats.org/officeDocument/2006/relationships/image" Target="../media/image18.emf"/><Relationship Id="rId2" Type="http://schemas.openxmlformats.org/officeDocument/2006/relationships/tags" Target="../tags/tag139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19.emf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20.emf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42.xml"/><Relationship Id="rId7" Type="http://schemas.openxmlformats.org/officeDocument/2006/relationships/image" Target="../media/image18.emf"/><Relationship Id="rId2" Type="http://schemas.openxmlformats.org/officeDocument/2006/relationships/tags" Target="../tags/tag141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7.emf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44.xml"/><Relationship Id="rId7" Type="http://schemas.openxmlformats.org/officeDocument/2006/relationships/image" Target="../media/image18.emf"/><Relationship Id="rId2" Type="http://schemas.openxmlformats.org/officeDocument/2006/relationships/tags" Target="../tags/tag143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20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146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148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150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tags" Target="../tags/tag152.xml"/><Relationship Id="rId7" Type="http://schemas.openxmlformats.org/officeDocument/2006/relationships/image" Target="../media/image7.png"/><Relationship Id="rId2" Type="http://schemas.openxmlformats.org/officeDocument/2006/relationships/tags" Target="../tags/tag151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7.xml"/><Relationship Id="rId7" Type="http://schemas.openxmlformats.org/officeDocument/2006/relationships/image" Target="../media/image10.png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tags" Target="../tags/tag156.xml"/><Relationship Id="rId7" Type="http://schemas.openxmlformats.org/officeDocument/2006/relationships/image" Target="../media/image7.png"/><Relationship Id="rId2" Type="http://schemas.openxmlformats.org/officeDocument/2006/relationships/tags" Target="../tags/tag155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tags" Target="../tags/tag158.xml"/><Relationship Id="rId7" Type="http://schemas.openxmlformats.org/officeDocument/2006/relationships/image" Target="../media/image7.png"/><Relationship Id="rId2" Type="http://schemas.openxmlformats.org/officeDocument/2006/relationships/tags" Target="../tags/tag157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9.png"/><Relationship Id="rId2" Type="http://schemas.openxmlformats.org/officeDocument/2006/relationships/tags" Target="../tags/tag159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9.png"/><Relationship Id="rId2" Type="http://schemas.openxmlformats.org/officeDocument/2006/relationships/tags" Target="../tags/tag160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Master" Target="../slideMasters/slideMaster2.xml"/><Relationship Id="rId7" Type="http://schemas.microsoft.com/office/2007/relationships/hdphoto" Target="../media/hdphoto1.wdp"/><Relationship Id="rId2" Type="http://schemas.openxmlformats.org/officeDocument/2006/relationships/tags" Target="../tags/tag161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Relationship Id="rId9" Type="http://schemas.openxmlformats.org/officeDocument/2006/relationships/image" Target="../media/image9.png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tags" Target="../tags/tag163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67.xml"/><Relationship Id="rId7" Type="http://schemas.openxmlformats.org/officeDocument/2006/relationships/image" Target="../media/image5.png"/><Relationship Id="rId2" Type="http://schemas.openxmlformats.org/officeDocument/2006/relationships/tags" Target="../tags/tag166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tags" Target="../tags/tag169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_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093B85A7-0125-2847-BF60-B78467EE3F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075C7A91-CC93-4B69-84A3-D6E6299E1C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7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075C7A91-CC93-4B69-84A3-D6E6299E1C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55627D-8E54-4A37-802B-8C427B3EB1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3" name="Forme libre : forme 22">
            <a:extLst>
              <a:ext uri="{FF2B5EF4-FFF2-40B4-BE49-F238E27FC236}">
                <a16:creationId xmlns:a16="http://schemas.microsoft.com/office/drawing/2014/main" id="{66AEBE2B-012F-42BB-A823-995DB0D71DD2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1" name="Forme libre : forme 20">
            <a:extLst>
              <a:ext uri="{FF2B5EF4-FFF2-40B4-BE49-F238E27FC236}">
                <a16:creationId xmlns:a16="http://schemas.microsoft.com/office/drawing/2014/main" id="{534AE452-7F08-4FA5-B95D-44688A32E41E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E9CCE011-2916-434D-A5D2-7A96A56EDF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24732"/>
          </a:xfr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btitle of the presentation</a:t>
            </a:r>
          </a:p>
        </p:txBody>
      </p:sp>
      <p:sp>
        <p:nvSpPr>
          <p:cNvPr id="19" name="Espace réservé de la date 3">
            <a:extLst>
              <a:ext uri="{FF2B5EF4-FFF2-40B4-BE49-F238E27FC236}">
                <a16:creationId xmlns:a16="http://schemas.microsoft.com/office/drawing/2014/main" id="{11CD5301-9586-45EF-BD7D-6FD0A6A5B0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361105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4" name="Titre 1">
            <a:extLst>
              <a:ext uri="{FF2B5EF4-FFF2-40B4-BE49-F238E27FC236}">
                <a16:creationId xmlns:a16="http://schemas.microsoft.com/office/drawing/2014/main" id="{282677E1-E7D7-461C-9F6D-B1708372F5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/>
              <a:t>TITLE OF THE SLIDE</a:t>
            </a:r>
          </a:p>
        </p:txBody>
      </p:sp>
      <p:sp>
        <p:nvSpPr>
          <p:cNvPr id="26" name="Espace réservé du texte 8">
            <a:extLst>
              <a:ext uri="{FF2B5EF4-FFF2-40B4-BE49-F238E27FC236}">
                <a16:creationId xmlns:a16="http://schemas.microsoft.com/office/drawing/2014/main" id="{0BD763C4-0BC2-41C5-BDBA-5850D945CF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2578642" cy="369332"/>
          </a:xfr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 of the speaker</a:t>
            </a:r>
          </a:p>
        </p:txBody>
      </p:sp>
      <p:pic>
        <p:nvPicPr>
          <p:cNvPr id="16" name="Image 15" descr="Une image contenant objet&#10;&#10;Description générée automatiquement">
            <a:extLst>
              <a:ext uri="{FF2B5EF4-FFF2-40B4-BE49-F238E27FC236}">
                <a16:creationId xmlns:a16="http://schemas.microsoft.com/office/drawing/2014/main" id="{5919B4CD-5E7E-4686-8385-C8E06F74C4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pic>
        <p:nvPicPr>
          <p:cNvPr id="14" name="Graphique 12">
            <a:extLst>
              <a:ext uri="{FF2B5EF4-FFF2-40B4-BE49-F238E27FC236}">
                <a16:creationId xmlns:a16="http://schemas.microsoft.com/office/drawing/2014/main" id="{33FF114A-8E2E-4078-8447-E6672F2878CC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24513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29">
          <p15:clr>
            <a:srgbClr val="F26B43"/>
          </p15:clr>
        </p15:guide>
        <p15:guide id="4" orient="horz" pos="1888">
          <p15:clr>
            <a:srgbClr val="F26B43"/>
          </p15:clr>
        </p15:guide>
        <p15:guide id="5" orient="horz" pos="3317">
          <p15:clr>
            <a:srgbClr val="F26B43"/>
          </p15:clr>
        </p15:guide>
        <p15:guide id="6" orient="horz" pos="3929">
          <p15:clr>
            <a:srgbClr val="F26B43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2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075C7A91-CC93-4B69-84A3-D6E6299E1C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407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075C7A91-CC93-4B69-84A3-D6E6299E1C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55627D-8E54-4A37-802B-8C427B3EB1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3" name="Forme libre : forme 22">
            <a:extLst>
              <a:ext uri="{FF2B5EF4-FFF2-40B4-BE49-F238E27FC236}">
                <a16:creationId xmlns:a16="http://schemas.microsoft.com/office/drawing/2014/main" id="{66AEBE2B-012F-42BB-A823-995DB0D71DD2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1" name="Forme libre : forme 20">
            <a:extLst>
              <a:ext uri="{FF2B5EF4-FFF2-40B4-BE49-F238E27FC236}">
                <a16:creationId xmlns:a16="http://schemas.microsoft.com/office/drawing/2014/main" id="{534AE452-7F08-4FA5-B95D-44688A32E41E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E9CCE011-2916-434D-A5D2-7A96A56EDF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24732"/>
          </a:xfr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btitle of the presentation</a:t>
            </a:r>
          </a:p>
        </p:txBody>
      </p:sp>
      <p:sp>
        <p:nvSpPr>
          <p:cNvPr id="19" name="Espace réservé de la date 3">
            <a:extLst>
              <a:ext uri="{FF2B5EF4-FFF2-40B4-BE49-F238E27FC236}">
                <a16:creationId xmlns:a16="http://schemas.microsoft.com/office/drawing/2014/main" id="{11CD5301-9586-45EF-BD7D-6FD0A6A5B0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361105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4" name="Titre 1">
            <a:extLst>
              <a:ext uri="{FF2B5EF4-FFF2-40B4-BE49-F238E27FC236}">
                <a16:creationId xmlns:a16="http://schemas.microsoft.com/office/drawing/2014/main" id="{282677E1-E7D7-461C-9F6D-B1708372F5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/>
              <a:t>TITLE OF THE SLIDE</a:t>
            </a:r>
          </a:p>
        </p:txBody>
      </p:sp>
      <p:sp>
        <p:nvSpPr>
          <p:cNvPr id="26" name="Espace réservé du texte 8">
            <a:extLst>
              <a:ext uri="{FF2B5EF4-FFF2-40B4-BE49-F238E27FC236}">
                <a16:creationId xmlns:a16="http://schemas.microsoft.com/office/drawing/2014/main" id="{0BD763C4-0BC2-41C5-BDBA-5850D945CF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2578642" cy="369332"/>
          </a:xfr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 of the speaker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55C72328-61FF-4531-AF88-298161BE3728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Image 15" descr="Une image contenant objet&#10;&#10;Description générée automatiquement">
            <a:extLst>
              <a:ext uri="{FF2B5EF4-FFF2-40B4-BE49-F238E27FC236}">
                <a16:creationId xmlns:a16="http://schemas.microsoft.com/office/drawing/2014/main" id="{5919B4CD-5E7E-4686-8385-C8E06F74C4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pic>
        <p:nvPicPr>
          <p:cNvPr id="14" name="Graphique 12">
            <a:extLst>
              <a:ext uri="{FF2B5EF4-FFF2-40B4-BE49-F238E27FC236}">
                <a16:creationId xmlns:a16="http://schemas.microsoft.com/office/drawing/2014/main" id="{33FF114A-8E2E-4078-8447-E6672F2878CC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9511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29">
          <p15:clr>
            <a:srgbClr val="F26B43"/>
          </p15:clr>
        </p15:guide>
        <p15:guide id="4" orient="horz" pos="1888">
          <p15:clr>
            <a:srgbClr val="F26B43"/>
          </p15:clr>
        </p15:guide>
        <p15:guide id="5" orient="horz" pos="3317">
          <p15:clr>
            <a:srgbClr val="F26B43"/>
          </p15:clr>
        </p15:guide>
        <p15:guide id="6" orient="horz" pos="3929">
          <p15:clr>
            <a:srgbClr val="F26B43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2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075C7A91-CC93-4B69-84A3-D6E6299E1C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99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075C7A91-CC93-4B69-84A3-D6E6299E1C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55627D-8E54-4A37-802B-8C427B3EB1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3" name="Forme libre : forme 22">
            <a:extLst>
              <a:ext uri="{FF2B5EF4-FFF2-40B4-BE49-F238E27FC236}">
                <a16:creationId xmlns:a16="http://schemas.microsoft.com/office/drawing/2014/main" id="{66AEBE2B-012F-42BB-A823-995DB0D71DD2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1" name="Forme libre : forme 20">
            <a:extLst>
              <a:ext uri="{FF2B5EF4-FFF2-40B4-BE49-F238E27FC236}">
                <a16:creationId xmlns:a16="http://schemas.microsoft.com/office/drawing/2014/main" id="{534AE452-7F08-4FA5-B95D-44688A32E41E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E9CCE011-2916-434D-A5D2-7A96A56EDF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24732"/>
          </a:xfr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btitle of the presentation</a:t>
            </a:r>
          </a:p>
        </p:txBody>
      </p:sp>
      <p:sp>
        <p:nvSpPr>
          <p:cNvPr id="19" name="Espace réservé de la date 3">
            <a:extLst>
              <a:ext uri="{FF2B5EF4-FFF2-40B4-BE49-F238E27FC236}">
                <a16:creationId xmlns:a16="http://schemas.microsoft.com/office/drawing/2014/main" id="{11CD5301-9586-45EF-BD7D-6FD0A6A5B0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361105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en-GB" smtClean="0"/>
              <a:t>17 September, 2020</a:t>
            </a:fld>
            <a:endParaRPr lang="en-GB"/>
          </a:p>
        </p:txBody>
      </p:sp>
      <p:sp>
        <p:nvSpPr>
          <p:cNvPr id="24" name="Titre 1">
            <a:extLst>
              <a:ext uri="{FF2B5EF4-FFF2-40B4-BE49-F238E27FC236}">
                <a16:creationId xmlns:a16="http://schemas.microsoft.com/office/drawing/2014/main" id="{282677E1-E7D7-461C-9F6D-B1708372F5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/>
              <a:t>TITLE OF THE SLIDE</a:t>
            </a:r>
          </a:p>
        </p:txBody>
      </p:sp>
      <p:sp>
        <p:nvSpPr>
          <p:cNvPr id="26" name="Espace réservé du texte 8">
            <a:extLst>
              <a:ext uri="{FF2B5EF4-FFF2-40B4-BE49-F238E27FC236}">
                <a16:creationId xmlns:a16="http://schemas.microsoft.com/office/drawing/2014/main" id="{0BD763C4-0BC2-41C5-BDBA-5850D945CF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2578642" cy="369332"/>
          </a:xfr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 of the speaker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55C72328-61FF-4531-AF88-298161BE3728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Image 15" descr="Une image contenant objet&#10;&#10;Description générée automatiquement">
            <a:extLst>
              <a:ext uri="{FF2B5EF4-FFF2-40B4-BE49-F238E27FC236}">
                <a16:creationId xmlns:a16="http://schemas.microsoft.com/office/drawing/2014/main" id="{5919B4CD-5E7E-4686-8385-C8E06F74C4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pic>
        <p:nvPicPr>
          <p:cNvPr id="14" name="Graphique 12">
            <a:extLst>
              <a:ext uri="{FF2B5EF4-FFF2-40B4-BE49-F238E27FC236}">
                <a16:creationId xmlns:a16="http://schemas.microsoft.com/office/drawing/2014/main" id="{33FF114A-8E2E-4078-8447-E6672F2878CC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45987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29">
          <p15:clr>
            <a:srgbClr val="F26B43"/>
          </p15:clr>
        </p15:guide>
        <p15:guide id="4" orient="horz" pos="1888">
          <p15:clr>
            <a:srgbClr val="F26B43"/>
          </p15:clr>
        </p15:guide>
        <p15:guide id="5" orient="horz" pos="3317">
          <p15:clr>
            <a:srgbClr val="F26B43"/>
          </p15:clr>
        </p15:guide>
        <p15:guide id="6" orient="horz" pos="3929">
          <p15:clr>
            <a:srgbClr val="F26B43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_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093B85A7-0125-2847-BF60-B78467EE3F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075C7A91-CC93-4B69-84A3-D6E6299E1C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75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075C7A91-CC93-4B69-84A3-D6E6299E1C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55627D-8E54-4A37-802B-8C427B3EB1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3" name="Forme libre : forme 22">
            <a:extLst>
              <a:ext uri="{FF2B5EF4-FFF2-40B4-BE49-F238E27FC236}">
                <a16:creationId xmlns:a16="http://schemas.microsoft.com/office/drawing/2014/main" id="{66AEBE2B-012F-42BB-A823-995DB0D71DD2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1" name="Forme libre : forme 20">
            <a:extLst>
              <a:ext uri="{FF2B5EF4-FFF2-40B4-BE49-F238E27FC236}">
                <a16:creationId xmlns:a16="http://schemas.microsoft.com/office/drawing/2014/main" id="{534AE452-7F08-4FA5-B95D-44688A32E41E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E9CCE011-2916-434D-A5D2-7A96A56EDF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24732"/>
          </a:xfr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btitle of the presentation</a:t>
            </a:r>
          </a:p>
        </p:txBody>
      </p:sp>
      <p:sp>
        <p:nvSpPr>
          <p:cNvPr id="19" name="Espace réservé de la date 3">
            <a:extLst>
              <a:ext uri="{FF2B5EF4-FFF2-40B4-BE49-F238E27FC236}">
                <a16:creationId xmlns:a16="http://schemas.microsoft.com/office/drawing/2014/main" id="{11CD5301-9586-45EF-BD7D-6FD0A6A5B0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361105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en-GB" smtClean="0"/>
              <a:t>17 September, 2020</a:t>
            </a:fld>
            <a:endParaRPr lang="en-GB"/>
          </a:p>
        </p:txBody>
      </p:sp>
      <p:sp>
        <p:nvSpPr>
          <p:cNvPr id="24" name="Titre 1">
            <a:extLst>
              <a:ext uri="{FF2B5EF4-FFF2-40B4-BE49-F238E27FC236}">
                <a16:creationId xmlns:a16="http://schemas.microsoft.com/office/drawing/2014/main" id="{282677E1-E7D7-461C-9F6D-B1708372F5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/>
              <a:t>TITLE OF THE SLIDE</a:t>
            </a:r>
          </a:p>
        </p:txBody>
      </p:sp>
      <p:sp>
        <p:nvSpPr>
          <p:cNvPr id="26" name="Espace réservé du texte 8">
            <a:extLst>
              <a:ext uri="{FF2B5EF4-FFF2-40B4-BE49-F238E27FC236}">
                <a16:creationId xmlns:a16="http://schemas.microsoft.com/office/drawing/2014/main" id="{0BD763C4-0BC2-41C5-BDBA-5850D945CF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2578642" cy="369332"/>
          </a:xfr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 of the speaker</a:t>
            </a:r>
          </a:p>
        </p:txBody>
      </p:sp>
      <p:pic>
        <p:nvPicPr>
          <p:cNvPr id="16" name="Image 15" descr="Une image contenant objet&#10;&#10;Description générée automatiquement">
            <a:extLst>
              <a:ext uri="{FF2B5EF4-FFF2-40B4-BE49-F238E27FC236}">
                <a16:creationId xmlns:a16="http://schemas.microsoft.com/office/drawing/2014/main" id="{5919B4CD-5E7E-4686-8385-C8E06F74C4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pic>
        <p:nvPicPr>
          <p:cNvPr id="14" name="Graphique 12">
            <a:extLst>
              <a:ext uri="{FF2B5EF4-FFF2-40B4-BE49-F238E27FC236}">
                <a16:creationId xmlns:a16="http://schemas.microsoft.com/office/drawing/2014/main" id="{33FF114A-8E2E-4078-8447-E6672F2878CC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3762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29">
          <p15:clr>
            <a:srgbClr val="F26B43"/>
          </p15:clr>
        </p15:guide>
        <p15:guide id="4" orient="horz" pos="1888">
          <p15:clr>
            <a:srgbClr val="F26B43"/>
          </p15:clr>
        </p15:guide>
        <p15:guide id="5" orient="horz" pos="3317">
          <p15:clr>
            <a:srgbClr val="F26B43"/>
          </p15:clr>
        </p15:guide>
        <p15:guide id="6" orient="horz" pos="3929">
          <p15:clr>
            <a:srgbClr val="F26B43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7CED06AF-D77F-40B5-AC37-133B89CE0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99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7CED06AF-D77F-40B5-AC37-133B89CE0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8F1563-018F-44B3-B1BA-431C2F106E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425366"/>
            <a:ext cx="7551996" cy="923330"/>
          </a:xfrm>
        </p:spPr>
        <p:txBody>
          <a:bodyPr lIns="72000" anchor="b">
            <a:spAutoFit/>
          </a:bodyPr>
          <a:lstStyle>
            <a:lvl1pPr>
              <a:defRPr sz="6000" spc="-2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SUMMARY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137A81A-F5D3-4438-B99F-AC1EABFB66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4988" y="1649866"/>
            <a:ext cx="7546216" cy="661720"/>
          </a:xfrm>
        </p:spPr>
        <p:txBody>
          <a:bodyPr wrap="square" lIns="108000" rIns="180000">
            <a:spAutoFit/>
          </a:bodyPr>
          <a:lstStyle>
            <a:lvl1pPr marL="450850" indent="-450850">
              <a:lnSpc>
                <a:spcPct val="100000"/>
              </a:lnSpc>
              <a:spcBef>
                <a:spcPts val="1800"/>
              </a:spcBef>
              <a:buSzPct val="100000"/>
              <a:buFont typeface="+mj-lt"/>
              <a:buAutoNum type="arabicPeriod"/>
              <a:defRPr sz="1600">
                <a:solidFill>
                  <a:schemeClr val="bg1"/>
                </a:solidFill>
                <a:latin typeface="+mn-lt"/>
              </a:defRPr>
            </a:lvl1pPr>
            <a:lvl2pPr marL="447675" indent="-314325">
              <a:lnSpc>
                <a:spcPct val="100000"/>
              </a:lnSpc>
              <a:buFont typeface="Arial" panose="020B0604020202020204" pitchFamily="34" charset="0"/>
              <a:buChar char=" "/>
              <a:defRPr sz="1600">
                <a:solidFill>
                  <a:schemeClr val="bg1"/>
                </a:solidFill>
              </a:defRPr>
            </a:lvl2pPr>
            <a:lvl3pPr marL="542925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Your text here</a:t>
            </a:r>
          </a:p>
          <a:p>
            <a:pPr lvl="1"/>
            <a:r>
              <a:rPr lang="en-GB"/>
              <a:t>Text level 2</a:t>
            </a: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9A9743B7-8D0B-4F4B-900B-FE6932488C3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0DC99564-1E2A-412E-A628-7BCE8232D5E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2" name="Espace réservé du pied de page 4">
            <a:extLst>
              <a:ext uri="{FF2B5EF4-FFF2-40B4-BE49-F238E27FC236}">
                <a16:creationId xmlns:a16="http://schemas.microsoft.com/office/drawing/2014/main" id="{26F3B280-A751-4795-8CA3-6E2A172C029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</p:spTree>
    <p:extLst>
      <p:ext uri="{BB962C8B-B14F-4D97-AF65-F5344CB8AC3E}">
        <p14:creationId xmlns:p14="http://schemas.microsoft.com/office/powerpoint/2010/main" val="1955119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62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 of the chapter</a:t>
            </a:r>
          </a:p>
        </p:txBody>
      </p:sp>
      <p:pic>
        <p:nvPicPr>
          <p:cNvPr id="16" name="Graphique 8">
            <a:extLst>
              <a:ext uri="{FF2B5EF4-FFF2-40B4-BE49-F238E27FC236}">
                <a16:creationId xmlns:a16="http://schemas.microsoft.com/office/drawing/2014/main" id="{E4759D16-3C68-46E4-914B-85AEC88CBD3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3DEA2039-7C0C-4137-BC63-7489537E8A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6F0D60AE-1577-4008-9F3D-2335AB963E1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</p:spTree>
    <p:extLst>
      <p:ext uri="{BB962C8B-B14F-4D97-AF65-F5344CB8AC3E}">
        <p14:creationId xmlns:p14="http://schemas.microsoft.com/office/powerpoint/2010/main" val="21244575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56B4929C-8011-4179-8CDE-3FB8CD2012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4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56B4929C-8011-4179-8CDE-3FB8CD2012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70C4FA2-C5EC-49E1-8C35-04867997158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5825EF1-A063-4BA8-A114-9FEFB36C88B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9207" y="2816932"/>
            <a:ext cx="7551996" cy="461665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 of the chapter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</p:spPr>
        <p:txBody>
          <a:bodyPr wrap="none">
            <a:spAutoFit/>
          </a:bodyPr>
          <a:lstStyle>
            <a:lvl1pPr marL="0" indent="0">
              <a:buNone/>
              <a:defRPr sz="28700" b="1">
                <a:blipFill>
                  <a:blip r:embed="rId7"/>
                  <a:stretch>
                    <a:fillRect/>
                  </a:stretch>
                </a:blip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C15C0FE-1109-48F3-B89A-6248AC1CCB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CC92D6CF-FE8C-42F7-BBBC-FC11531533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19604666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3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0FC6D31B-8418-47E2-BEC8-4C4D884AEE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5695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0FC6D31B-8418-47E2-BEC8-4C4D884AE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BFC7BE2-5BD4-49F5-A3FC-FE37C1AC966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A7CC7BB1-2504-412F-9361-BB77A4C066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C8046952-CF6F-4606-B04F-66EE0742EF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 of the chapter</a:t>
            </a: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12566D07-C10F-4149-9D24-43409582809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1" name="Espace réservé du numéro de diapositive 2">
            <a:extLst>
              <a:ext uri="{FF2B5EF4-FFF2-40B4-BE49-F238E27FC236}">
                <a16:creationId xmlns:a16="http://schemas.microsoft.com/office/drawing/2014/main" id="{DA7B4581-DBF3-4675-85A2-573E4F1A22C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9E7FCC28-2779-438A-83C5-F5B120BFA1B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</p:spTree>
    <p:extLst>
      <p:ext uri="{BB962C8B-B14F-4D97-AF65-F5344CB8AC3E}">
        <p14:creationId xmlns:p14="http://schemas.microsoft.com/office/powerpoint/2010/main" val="3916710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56">
          <p15:clr>
            <a:srgbClr val="F26B43"/>
          </p15:clr>
        </p15:guide>
        <p15:guide id="2" orient="horz" pos="3906">
          <p15:clr>
            <a:srgbClr val="F26B43"/>
          </p15:clr>
        </p15:guide>
        <p15:guide id="3" pos="288">
          <p15:clr>
            <a:srgbClr val="F26B43"/>
          </p15:clr>
        </p15:guide>
        <p15:guide id="4" pos="360">
          <p15:clr>
            <a:srgbClr val="A4A3A4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sual in b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809EBE8-0C7E-4ABF-B776-8E09915DB959}"/>
              </a:ext>
            </a:extLst>
          </p:cNvPr>
          <p:cNvSpPr/>
          <p:nvPr userDrawn="1"/>
        </p:nvSpPr>
        <p:spPr>
          <a:xfrm>
            <a:off x="1931" y="2101"/>
            <a:ext cx="10097918" cy="6852677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0000"/>
                </a:schemeClr>
              </a:gs>
              <a:gs pos="50000">
                <a:srgbClr val="000000">
                  <a:alpha val="0"/>
                </a:srgb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63F05E0D-3D04-4017-9808-762862E50409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FD65DF1D-0D1A-471B-8283-644A0E829D66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55CF31FB-0777-4002-8B91-D7D76860398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2" name="Espace réservé du numéro de diapositive 2">
            <a:extLst>
              <a:ext uri="{FF2B5EF4-FFF2-40B4-BE49-F238E27FC236}">
                <a16:creationId xmlns:a16="http://schemas.microsoft.com/office/drawing/2014/main" id="{5E6B0BDD-2859-4F0A-A7E1-A44BEFADC16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F5A26E8D-D486-4A59-828C-BE9E51CDB5D2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6838E746-8C0D-4144-AC8E-FA9CF117C2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/TEXT OF THE SLIDE</a:t>
            </a:r>
          </a:p>
        </p:txBody>
      </p:sp>
    </p:spTree>
    <p:extLst>
      <p:ext uri="{BB962C8B-B14F-4D97-AF65-F5344CB8AC3E}">
        <p14:creationId xmlns:p14="http://schemas.microsoft.com/office/powerpoint/2010/main" val="6414941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306">
          <p15:clr>
            <a:srgbClr val="A4A3A4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1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 of the chapter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44FFDEA7-E33B-4F69-A94F-C24D4C06C36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55EF3A58-D397-4CE4-A40D-2D27231A07F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87E7F813-4752-4D6D-9FC9-975E797C55B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</p:spTree>
    <p:extLst>
      <p:ext uri="{BB962C8B-B14F-4D97-AF65-F5344CB8AC3E}">
        <p14:creationId xmlns:p14="http://schemas.microsoft.com/office/powerpoint/2010/main" val="3442123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4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 of the chapter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D3C70FEB-0084-4E37-8AC4-3A50B2EA056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97928A40-4AA3-49EF-9556-BDB555D654B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F59241AE-0D4A-4924-9503-149B6B5F1252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</p:spTree>
    <p:extLst>
      <p:ext uri="{BB962C8B-B14F-4D97-AF65-F5344CB8AC3E}">
        <p14:creationId xmlns:p14="http://schemas.microsoft.com/office/powerpoint/2010/main" val="9215068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hapter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6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380206" y="3287"/>
            <a:ext cx="1184620" cy="2646878"/>
          </a:xfrm>
        </p:spPr>
        <p:txBody>
          <a:bodyPr wrap="none">
            <a:spAutoFit/>
          </a:bodyPr>
          <a:lstStyle>
            <a:lvl1pPr marL="0" indent="0">
              <a:buNone/>
              <a:defRPr sz="16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3360750"/>
            <a:ext cx="7551996" cy="1288623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48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5100390"/>
            <a:ext cx="7551996" cy="400110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0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 of the chapter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D3C70FEB-0084-4E37-8AC4-3A50B2EA056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97928A40-4AA3-49EF-9556-BDB555D654B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F59241AE-0D4A-4924-9503-149B6B5F1252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</p:spTree>
    <p:extLst>
      <p:ext uri="{BB962C8B-B14F-4D97-AF65-F5344CB8AC3E}">
        <p14:creationId xmlns:p14="http://schemas.microsoft.com/office/powerpoint/2010/main" val="24610241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_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093B85A7-0125-2847-BF60-B78467EE3F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075C7A91-CC93-4B69-84A3-D6E6299E1C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1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075C7A91-CC93-4B69-84A3-D6E6299E1C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55627D-8E54-4A37-802B-8C427B3EB1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3" name="Forme libre : forme 22">
            <a:extLst>
              <a:ext uri="{FF2B5EF4-FFF2-40B4-BE49-F238E27FC236}">
                <a16:creationId xmlns:a16="http://schemas.microsoft.com/office/drawing/2014/main" id="{66AEBE2B-012F-42BB-A823-995DB0D71DD2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1" name="Forme libre : forme 20">
            <a:extLst>
              <a:ext uri="{FF2B5EF4-FFF2-40B4-BE49-F238E27FC236}">
                <a16:creationId xmlns:a16="http://schemas.microsoft.com/office/drawing/2014/main" id="{534AE452-7F08-4FA5-B95D-44688A32E41E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E9CCE011-2916-434D-A5D2-7A96A56EDF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24732"/>
          </a:xfr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btitle of the presentation</a:t>
            </a:r>
          </a:p>
        </p:txBody>
      </p:sp>
      <p:sp>
        <p:nvSpPr>
          <p:cNvPr id="19" name="Espace réservé de la date 3">
            <a:extLst>
              <a:ext uri="{FF2B5EF4-FFF2-40B4-BE49-F238E27FC236}">
                <a16:creationId xmlns:a16="http://schemas.microsoft.com/office/drawing/2014/main" id="{11CD5301-9586-45EF-BD7D-6FD0A6A5B0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361105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4" name="Titre 1">
            <a:extLst>
              <a:ext uri="{FF2B5EF4-FFF2-40B4-BE49-F238E27FC236}">
                <a16:creationId xmlns:a16="http://schemas.microsoft.com/office/drawing/2014/main" id="{282677E1-E7D7-461C-9F6D-B1708372F5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/>
              <a:t>TITLE OF THE SLIDE</a:t>
            </a:r>
          </a:p>
        </p:txBody>
      </p:sp>
      <p:sp>
        <p:nvSpPr>
          <p:cNvPr id="26" name="Espace réservé du texte 8">
            <a:extLst>
              <a:ext uri="{FF2B5EF4-FFF2-40B4-BE49-F238E27FC236}">
                <a16:creationId xmlns:a16="http://schemas.microsoft.com/office/drawing/2014/main" id="{0BD763C4-0BC2-41C5-BDBA-5850D945CF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2578642" cy="369332"/>
          </a:xfr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 of the speaker</a:t>
            </a:r>
          </a:p>
        </p:txBody>
      </p:sp>
      <p:pic>
        <p:nvPicPr>
          <p:cNvPr id="16" name="Image 15" descr="Une image contenant objet&#10;&#10;Description générée automatiquement">
            <a:extLst>
              <a:ext uri="{FF2B5EF4-FFF2-40B4-BE49-F238E27FC236}">
                <a16:creationId xmlns:a16="http://schemas.microsoft.com/office/drawing/2014/main" id="{5919B4CD-5E7E-4686-8385-C8E06F74C4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pic>
        <p:nvPicPr>
          <p:cNvPr id="14" name="Graphique 12">
            <a:extLst>
              <a:ext uri="{FF2B5EF4-FFF2-40B4-BE49-F238E27FC236}">
                <a16:creationId xmlns:a16="http://schemas.microsoft.com/office/drawing/2014/main" id="{33FF114A-8E2E-4078-8447-E6672F2878CC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8545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29">
          <p15:clr>
            <a:srgbClr val="F26B43"/>
          </p15:clr>
        </p15:guide>
        <p15:guide id="4" orient="horz" pos="1888">
          <p15:clr>
            <a:srgbClr val="F26B43"/>
          </p15:clr>
        </p15:guide>
        <p15:guide id="5" orient="horz" pos="3317">
          <p15:clr>
            <a:srgbClr val="F26B43"/>
          </p15:clr>
        </p15:guide>
        <p15:guide id="6" orient="horz" pos="3929">
          <p15:clr>
            <a:srgbClr val="F26B43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9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D3C70FEB-0084-4E37-8AC4-3A50B2EA056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97928A40-4AA3-49EF-9556-BDB555D654B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F59241AE-0D4A-4924-9503-149B6B5F1252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</p:spTree>
    <p:extLst>
      <p:ext uri="{BB962C8B-B14F-4D97-AF65-F5344CB8AC3E}">
        <p14:creationId xmlns:p14="http://schemas.microsoft.com/office/powerpoint/2010/main" val="1144113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81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 of the chapter</a:t>
            </a:r>
          </a:p>
        </p:txBody>
      </p:sp>
      <p:pic>
        <p:nvPicPr>
          <p:cNvPr id="20" name="Graphique 8">
            <a:extLst>
              <a:ext uri="{FF2B5EF4-FFF2-40B4-BE49-F238E27FC236}">
                <a16:creationId xmlns:a16="http://schemas.microsoft.com/office/drawing/2014/main" id="{45E8C3F4-2490-401C-BFA7-37816AAE0F9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D1EEABA1-A797-42A3-88FC-A0BE2A9BB98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8E0CC66F-2823-4F24-845C-C4CBB5EDF45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</p:spTree>
    <p:extLst>
      <p:ext uri="{BB962C8B-B14F-4D97-AF65-F5344CB8AC3E}">
        <p14:creationId xmlns:p14="http://schemas.microsoft.com/office/powerpoint/2010/main" val="22906430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3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 of the chapter</a:t>
            </a:r>
          </a:p>
        </p:txBody>
      </p:sp>
      <p:pic>
        <p:nvPicPr>
          <p:cNvPr id="21" name="Graphique 8">
            <a:extLst>
              <a:ext uri="{FF2B5EF4-FFF2-40B4-BE49-F238E27FC236}">
                <a16:creationId xmlns:a16="http://schemas.microsoft.com/office/drawing/2014/main" id="{18AF53AA-F64F-40A2-BA18-E39CF0E6D61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99124B2E-7D5F-43EA-BA8E-51CF5BE916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F420F713-7CBA-4B47-8081-8B5D8C3FEF7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</p:spTree>
    <p:extLst>
      <p:ext uri="{BB962C8B-B14F-4D97-AF65-F5344CB8AC3E}">
        <p14:creationId xmlns:p14="http://schemas.microsoft.com/office/powerpoint/2010/main" val="4279894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blue bg &amp; green line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rme libre : forme 8">
            <a:extLst>
              <a:ext uri="{FF2B5EF4-FFF2-40B4-BE49-F238E27FC236}">
                <a16:creationId xmlns:a16="http://schemas.microsoft.com/office/drawing/2014/main" id="{06E579EA-91DA-4593-8EE7-8C7BD8E9B3C4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Forme libre : forme 9">
            <a:extLst>
              <a:ext uri="{FF2B5EF4-FFF2-40B4-BE49-F238E27FC236}">
                <a16:creationId xmlns:a16="http://schemas.microsoft.com/office/drawing/2014/main" id="{29F1B386-0FAE-41CE-A984-7AA20FB08BC9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6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Your text here</a:t>
            </a:r>
          </a:p>
          <a:p>
            <a:pPr lvl="1"/>
            <a:r>
              <a:rPr lang="en-GB"/>
              <a:t>Text level 1</a:t>
            </a:r>
          </a:p>
          <a:p>
            <a:pPr lvl="2"/>
            <a:r>
              <a:rPr lang="en-GB"/>
              <a:t>Text level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E40DDFB2-256F-44A1-BD31-110E23E23FB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04786" y="5926944"/>
            <a:ext cx="11382428" cy="203133"/>
          </a:xfrm>
        </p:spPr>
        <p:txBody>
          <a:bodyPr wrap="square" lIns="180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1C7EC617-99AC-4619-A3E2-03F03BE503E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9865" y="1346865"/>
            <a:ext cx="2383767" cy="353943"/>
          </a:xfrm>
          <a:noFill/>
        </p:spPr>
        <p:txBody>
          <a:bodyPr wrap="none" lIns="108000" rIns="108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pic>
        <p:nvPicPr>
          <p:cNvPr id="16" name="Graphique 8">
            <a:extLst>
              <a:ext uri="{FF2B5EF4-FFF2-40B4-BE49-F238E27FC236}">
                <a16:creationId xmlns:a16="http://schemas.microsoft.com/office/drawing/2014/main" id="{AC638226-1503-4686-A47D-719DAE7E1EF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A7D057F7-5350-4EA2-9720-F7C82D8742F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0484B6EF-AF21-476B-9A05-614E9257A12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C1DD0896-E435-45AB-A276-C01A7737AA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7625929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8">
          <p15:clr>
            <a:srgbClr val="F26B43"/>
          </p15:clr>
        </p15:guide>
        <p15:guide id="5" orient="horz" pos="1040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66">
          <p15:clr>
            <a:srgbClr val="A4A3A4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8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80958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4A8A9AC5-0E79-4DE0-B2FD-4BEFE45E6D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2524676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1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80958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4A8A9AC5-0E79-4DE0-B2FD-4BEFE45E6D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2" name="Straight Connector 35">
            <a:extLst>
              <a:ext uri="{FF2B5EF4-FFF2-40B4-BE49-F238E27FC236}">
                <a16:creationId xmlns:a16="http://schemas.microsoft.com/office/drawing/2014/main" id="{C67592C2-0DB8-4942-A571-6655A988B75E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3832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3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0"/>
            <a:endParaRPr lang="en-GB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6485635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5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418BE7AA-B05F-40FC-BE65-334D5A780A5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8E28A143-6AE4-4026-8B3B-9C8721F934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9608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8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3448DD5-93B4-4A86-B5D7-CD4057F6153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2667153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D580420-D108-4DFA-B447-3503E53C92F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09868" y="1808820"/>
            <a:ext cx="2667153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215690-EA4B-4816-B47C-BFB80C4C015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14951" y="1808820"/>
            <a:ext cx="2667153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17D90A67-975F-482E-9AB6-7B0ED64C41FE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9120035" y="1808820"/>
            <a:ext cx="2667153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785120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0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2667153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09868" y="1808820"/>
            <a:ext cx="2667153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14951" y="1808820"/>
            <a:ext cx="2667153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D0309A2-2C77-4A6B-86B6-B5D04081C27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9120035" y="1808820"/>
            <a:ext cx="2667153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21968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7CED06AF-D77F-40B5-AC37-133B89CE0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15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7CED06AF-D77F-40B5-AC37-133B89CE0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8F1563-018F-44B3-B1BA-431C2F106E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425366"/>
            <a:ext cx="7551996" cy="923330"/>
          </a:xfrm>
        </p:spPr>
        <p:txBody>
          <a:bodyPr lIns="72000" anchor="b">
            <a:spAutoFit/>
          </a:bodyPr>
          <a:lstStyle>
            <a:lvl1pPr>
              <a:defRPr sz="6000" spc="-2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SUMMARY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137A81A-F5D3-4438-B99F-AC1EABFB66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4988" y="1649866"/>
            <a:ext cx="7546216" cy="661720"/>
          </a:xfrm>
        </p:spPr>
        <p:txBody>
          <a:bodyPr wrap="square" lIns="108000" rIns="180000">
            <a:spAutoFit/>
          </a:bodyPr>
          <a:lstStyle>
            <a:lvl1pPr marL="450850" indent="-450850">
              <a:lnSpc>
                <a:spcPct val="100000"/>
              </a:lnSpc>
              <a:spcBef>
                <a:spcPts val="1800"/>
              </a:spcBef>
              <a:buSzPct val="100000"/>
              <a:buFont typeface="+mj-lt"/>
              <a:buAutoNum type="arabicPeriod"/>
              <a:defRPr sz="1600">
                <a:solidFill>
                  <a:schemeClr val="bg1"/>
                </a:solidFill>
                <a:latin typeface="+mn-lt"/>
              </a:defRPr>
            </a:lvl1pPr>
            <a:lvl2pPr marL="447675" indent="-314325">
              <a:lnSpc>
                <a:spcPct val="100000"/>
              </a:lnSpc>
              <a:buFont typeface="Arial" panose="020B0604020202020204" pitchFamily="34" charset="0"/>
              <a:buChar char=" "/>
              <a:defRPr sz="1600">
                <a:solidFill>
                  <a:schemeClr val="bg1"/>
                </a:solidFill>
              </a:defRPr>
            </a:lvl2pPr>
            <a:lvl3pPr marL="542925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Your text here</a:t>
            </a:r>
          </a:p>
          <a:p>
            <a:pPr lvl="1"/>
            <a:r>
              <a:rPr lang="en-GB"/>
              <a:t>Text level 2</a:t>
            </a: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9A9743B7-8D0B-4F4B-900B-FE6932488C3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0DC99564-1E2A-412E-A628-7BCE8232D5E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2" name="Espace réservé du pied de page 4">
            <a:extLst>
              <a:ext uri="{FF2B5EF4-FFF2-40B4-BE49-F238E27FC236}">
                <a16:creationId xmlns:a16="http://schemas.microsoft.com/office/drawing/2014/main" id="{26F3B280-A751-4795-8CA3-6E2A172C029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</p:spTree>
    <p:extLst>
      <p:ext uri="{BB962C8B-B14F-4D97-AF65-F5344CB8AC3E}">
        <p14:creationId xmlns:p14="http://schemas.microsoft.com/office/powerpoint/2010/main" val="4858263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3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03FBAD7D-854D-404C-B8B3-4E2C7D8E19D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CC22739F-880B-4A8D-A44A-FA27E469BBD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15" name="Espace réservé du numéro de diapositive 2">
            <a:extLst>
              <a:ext uri="{FF2B5EF4-FFF2-40B4-BE49-F238E27FC236}">
                <a16:creationId xmlns:a16="http://schemas.microsoft.com/office/drawing/2014/main" id="{3E5B363C-4834-4022-B3EF-4F0B2F86B4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536A3F82-5F59-45E4-A8C9-83EAACE14FE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DC39ED46-ACD4-4140-8AE3-6EA8A681D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B038926-763C-48F5-9721-AE1BAF188A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174531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5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5266C08B-2F7E-4F8B-BF8E-E61C11C088E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CE0DAD37-9E91-4CB5-BBFB-D7D0AE680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1FFA1AA5-BD0A-4DA2-B673-FFA69DD82A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FF24FD81-7B55-4044-B852-C1B3DF92DC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B9B9ED51-C446-4AC1-B24E-06FFE95D92F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9E12D94-276B-4046-B3E1-AA0B7ECE75A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5864085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7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67D8D94-1F4F-4570-BE87-CC0ACCECF1F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F236AEC-C7EC-4113-A52E-42CBE9E2CEC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35F5DA09-4EA3-477B-8AB6-2107939FF73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6FF221F3-455A-4503-86BF-647C6BFB674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3F49335F-1C58-4990-9C3F-134638C480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98936663-DB8F-4803-AE7D-C907BA7F10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24E312FF-57A8-41D2-8CEA-B8E4B94D39B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700E46C-E029-4D65-9750-72D1F0CADC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460307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Dark Blue Bg with lin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0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67D8D94-1F4F-4570-BE87-CC0ACCECF1F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F236AEC-C7EC-4113-A52E-42CBE9E2CEC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35F5DA09-4EA3-477B-8AB6-2107939FF73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6FF221F3-455A-4503-86BF-647C6BFB674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3F49335F-1C58-4990-9C3F-134638C480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98936663-DB8F-4803-AE7D-C907BA7F10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24E312FF-57A8-41D2-8CEA-B8E4B94D39B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700E46C-E029-4D65-9750-72D1F0CADC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3" name="Straight Connector 35">
            <a:extLst>
              <a:ext uri="{FF2B5EF4-FFF2-40B4-BE49-F238E27FC236}">
                <a16:creationId xmlns:a16="http://schemas.microsoft.com/office/drawing/2014/main" id="{1F374AA6-28F4-41FD-A410-764242D207E0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34262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12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7A52EDD-AB3D-46B8-9552-5D0D13D5F36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768F86D-E142-4E52-9D2E-634CC9C157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768956C-096A-4710-B05A-BFA418BB475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F0A4DBDF-9DE1-4159-B9A5-0F036DC8A42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1480B72C-9876-453C-9F2F-0AE2DB43A8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1B7C54F0-393D-414A-AB4A-9C866103590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053CAEAD-747A-422E-A5A4-8DCFAFD21E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89CF81-246C-4814-B82F-ECB801F4C8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750B9D53-EB0D-4D50-9A03-24095E62AB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8504825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Dark Blue Bg with lin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5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7A52EDD-AB3D-46B8-9552-5D0D13D5F36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768F86D-E142-4E52-9D2E-634CC9C157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768956C-096A-4710-B05A-BFA418BB475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F0A4DBDF-9DE1-4159-B9A5-0F036DC8A42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1480B72C-9876-453C-9F2F-0AE2DB43A8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1B7C54F0-393D-414A-AB4A-9C866103590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053CAEAD-747A-422E-A5A4-8DCFAFD21E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89CF81-246C-4814-B82F-ECB801F4C8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3" name="Straight Connector 35">
            <a:extLst>
              <a:ext uri="{FF2B5EF4-FFF2-40B4-BE49-F238E27FC236}">
                <a16:creationId xmlns:a16="http://schemas.microsoft.com/office/drawing/2014/main" id="{38BA5899-CDBB-42D8-BFCD-64F5857EFC6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35">
            <a:extLst>
              <a:ext uri="{FF2B5EF4-FFF2-40B4-BE49-F238E27FC236}">
                <a16:creationId xmlns:a16="http://schemas.microsoft.com/office/drawing/2014/main" id="{0319CC48-B0CA-4682-86EB-D878921F8F3B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CFEB6BD6-1F6B-4CDA-A8BD-7B9947B8A3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3579604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Dark Blue Bg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7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A3E362D2-078D-4128-B488-B68D1D62549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</p:spTree>
    <p:extLst>
      <p:ext uri="{BB962C8B-B14F-4D97-AF65-F5344CB8AC3E}">
        <p14:creationId xmlns:p14="http://schemas.microsoft.com/office/powerpoint/2010/main" val="2490492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Dark Blue Bg with lin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9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5A248F93-3019-4CAF-B706-E2441D4F541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</p:spTree>
    <p:extLst>
      <p:ext uri="{BB962C8B-B14F-4D97-AF65-F5344CB8AC3E}">
        <p14:creationId xmlns:p14="http://schemas.microsoft.com/office/powerpoint/2010/main" val="4869365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2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7D382778-4BBE-4E08-86E4-7B7315AC1A6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BA150D9F-19CF-41D5-863B-7F91F1AB7D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2C66637-89A9-4034-A3B9-5E24586102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31F9D6FB-8DB3-4379-851A-D7F19062A2E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ADCF342B-275C-4A27-A66D-2820075198A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47377B4-5609-49EE-8F95-1C8A59DF90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561453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4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3E2F2A02-19F4-4543-A149-7BA6112B4EB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3A83716A-3280-4F1F-A538-84B68BE706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937237CF-7891-41A0-8496-C3B641A44E5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EA13E63A-DB9A-4943-94F5-7D1662AF82E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AF25B436-5E52-4A56-8F65-3680B6E8DD4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1403F2-4414-4234-BC39-C68A3C04006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9326702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3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 of the chapter</a:t>
            </a:r>
          </a:p>
        </p:txBody>
      </p:sp>
      <p:pic>
        <p:nvPicPr>
          <p:cNvPr id="16" name="Graphique 8">
            <a:extLst>
              <a:ext uri="{FF2B5EF4-FFF2-40B4-BE49-F238E27FC236}">
                <a16:creationId xmlns:a16="http://schemas.microsoft.com/office/drawing/2014/main" id="{E4759D16-3C68-46E4-914B-85AEC88CBD3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3DEA2039-7C0C-4137-BC63-7489537E8A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6F0D60AE-1577-4008-9F3D-2335AB963E1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CRE Post Testing Offer 2020</a:t>
            </a:r>
          </a:p>
        </p:txBody>
      </p:sp>
    </p:spTree>
    <p:extLst>
      <p:ext uri="{BB962C8B-B14F-4D97-AF65-F5344CB8AC3E}">
        <p14:creationId xmlns:p14="http://schemas.microsoft.com/office/powerpoint/2010/main" val="138468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7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3" name="Graphique 8">
            <a:extLst>
              <a:ext uri="{FF2B5EF4-FFF2-40B4-BE49-F238E27FC236}">
                <a16:creationId xmlns:a16="http://schemas.microsoft.com/office/drawing/2014/main" id="{FAB72C51-19EB-42BF-84AF-F648EA3B2BB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11135A29-83DC-4483-B5FF-BA7A26B481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7E11A5F4-9100-441C-8387-740981956A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13763D44-1A8C-41DD-9E5B-CB819BE4C5D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3B60D1F3-5624-4887-AC07-8B788D01CBD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6E829D9-0666-4D5B-9896-28C1CEC4B7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422811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Blue Bg with lin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9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3" name="Graphique 8">
            <a:extLst>
              <a:ext uri="{FF2B5EF4-FFF2-40B4-BE49-F238E27FC236}">
                <a16:creationId xmlns:a16="http://schemas.microsoft.com/office/drawing/2014/main" id="{FAB72C51-19EB-42BF-84AF-F648EA3B2BB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11135A29-83DC-4483-B5FF-BA7A26B481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7E11A5F4-9100-441C-8387-740981956A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13763D44-1A8C-41DD-9E5B-CB819BE4C5D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3B60D1F3-5624-4887-AC07-8B788D01CBD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6E829D9-0666-4D5B-9896-28C1CEC4B7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5E3D423D-34E1-4BDE-8374-98A2C452EFBE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704933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31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86D5BC3-F5D3-415B-B920-B84A14BC8E3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114C476-0380-4CDD-850C-316ADAE5BF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A1D61AC-BD7C-4366-9299-08E3EFE5406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7" name="Graphique 8">
            <a:extLst>
              <a:ext uri="{FF2B5EF4-FFF2-40B4-BE49-F238E27FC236}">
                <a16:creationId xmlns:a16="http://schemas.microsoft.com/office/drawing/2014/main" id="{179657D5-47C7-4E75-BEE7-A780E55EE72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B8BDCCF6-F619-4F6E-8F2B-C4DA9F23171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0D86C3E4-5B42-4A1F-B550-10045E810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5D573DBF-7B78-4EB4-859D-55DACC88EE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BA89C3CB-68C8-4D8E-9AFC-40C4E7D1120F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AD0B33D-4376-4867-B390-6240868464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904345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Blue Bg with lin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34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86D5BC3-F5D3-415B-B920-B84A14BC8E3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114C476-0380-4CDD-850C-316ADAE5BF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A1D61AC-BD7C-4366-9299-08E3EFE5406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7" name="Graphique 8">
            <a:extLst>
              <a:ext uri="{FF2B5EF4-FFF2-40B4-BE49-F238E27FC236}">
                <a16:creationId xmlns:a16="http://schemas.microsoft.com/office/drawing/2014/main" id="{179657D5-47C7-4E75-BEE7-A780E55EE72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B8BDCCF6-F619-4F6E-8F2B-C4DA9F23171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0D86C3E4-5B42-4A1F-B550-10045E810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5D573DBF-7B78-4EB4-859D-55DACC88EE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BA89C3CB-68C8-4D8E-9AFC-40C4E7D1120F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AD0B33D-4376-4867-B390-6240868464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6D1337EB-DEA5-4E68-BE59-E3A0603AE2DF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F9606CDD-74E8-4C9E-BCA3-937206DAC0A3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2665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Blue Bg 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6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1032083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Blue Bg with lin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9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3129468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41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D89E5884-F1A8-4E0D-9234-BB2A7C6AA43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4F3B4695-392F-4D5E-A21D-D31873D404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818C64AC-1412-4DDD-9F43-C2EF051921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8" name="Espace réservé du numéro de diapositive 2">
            <a:extLst>
              <a:ext uri="{FF2B5EF4-FFF2-40B4-BE49-F238E27FC236}">
                <a16:creationId xmlns:a16="http://schemas.microsoft.com/office/drawing/2014/main" id="{83E3C24A-2205-49DD-8B09-37A94D1654F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9" name="Espace réservé du pied de page 4">
            <a:extLst>
              <a:ext uri="{FF2B5EF4-FFF2-40B4-BE49-F238E27FC236}">
                <a16:creationId xmlns:a16="http://schemas.microsoft.com/office/drawing/2014/main" id="{D391BA41-15A6-4B3E-AA8F-038F30517DC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43749402-7B23-4B7E-B9FD-7CAE1CA86F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2072387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3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2513B4C4-9B08-40EC-B04E-201CA7DE434E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27AFC4AA-0C36-4C10-8687-BEDF59DC2DB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B6971712-3753-4718-88F2-399AFD21BA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3F3ECF30-253F-41F7-AE85-6ED0B962BF5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EBE9D903-93C1-4E77-A737-5DA411D2FA94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4E21DDE-C5A0-4A10-8DBA-9017D1642C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0029013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6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5051729-BB8F-4F8B-9768-535B59EB22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A67810E-C380-4F6B-97F0-4AACF4232B4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D938CEE-A044-4227-9DE9-9D7C74815781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AE0492C6-FFE2-4A64-A953-436559870D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123DD79-4804-466E-858A-943320EFB0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2D9890A8-BA01-4982-A473-4ABF58AED3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A1BE0EC3-13A4-4B01-B222-35E0403F4ED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5E1329CB-08A8-4373-99C4-D2CCF23098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4728203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Turquoise Bg with lin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8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5051729-BB8F-4F8B-9768-535B59EB22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A67810E-C380-4F6B-97F0-4AACF4232B4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D938CEE-A044-4227-9DE9-9D7C74815781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AE0492C6-FFE2-4A64-A953-436559870D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123DD79-4804-466E-858A-943320EFB0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2D9890A8-BA01-4982-A473-4ABF58AED3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A1BE0EC3-13A4-4B01-B222-35E0403F4ED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5E1329CB-08A8-4373-99C4-D2CCF23098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CCC03A1B-8149-4249-BC87-D1342F48BC4A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20533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56B4929C-8011-4179-8CDE-3FB8CD2012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6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56B4929C-8011-4179-8CDE-3FB8CD2012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70C4FA2-C5EC-49E1-8C35-04867997158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5825EF1-A063-4BA8-A114-9FEFB36C88B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9207" y="2816932"/>
            <a:ext cx="7551996" cy="461665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 of the chapter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</p:spPr>
        <p:txBody>
          <a:bodyPr wrap="none">
            <a:spAutoFit/>
          </a:bodyPr>
          <a:lstStyle>
            <a:lvl1pPr marL="0" indent="0">
              <a:buNone/>
              <a:defRPr sz="28700" b="1">
                <a:blipFill>
                  <a:blip r:embed="rId7"/>
                  <a:stretch>
                    <a:fillRect/>
                  </a:stretch>
                </a:blip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C15C0FE-1109-48F3-B89A-6248AC1CCB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CC92D6CF-FE8C-42F7-BBBC-FC11531533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32423304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51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6FF21A3-5C44-47ED-B6D7-AE6CB6A1102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5D31501-DC21-4740-ACF3-F1316E59819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9E9C974-F8D0-482E-9985-E67DFC62129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84A8F74-C187-471B-BECD-90117FE9539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0A73578C-E463-4003-8A18-1D881A90DD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96221AE0-5837-481C-BC68-0F09E348A5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473C7761-AA9D-4D80-922D-D9468B5F3B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A199F665-569C-4DB3-8791-44F0F59D740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93F987A-170C-4E76-A7D8-DC706875F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8061396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Turquoise Bg with lin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3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6FF21A3-5C44-47ED-B6D7-AE6CB6A1102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5D31501-DC21-4740-ACF3-F1316E59819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9E9C974-F8D0-482E-9985-E67DFC62129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84A8F74-C187-471B-BECD-90117FE95392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0A73578C-E463-4003-8A18-1D881A90DD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96221AE0-5837-481C-BC68-0F09E348A5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473C7761-AA9D-4D80-922D-D9468B5F3B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A199F665-569C-4DB3-8791-44F0F59D740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93F987A-170C-4E76-A7D8-DC706875F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FAF1B7B1-87E0-46A4-AA07-C1063E54C3AD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18811E3C-6550-477D-B750-990B471D9E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49488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columns_Green Bg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55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373054" y="1997656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B581EAD-818C-45A4-80FE-963E44E24C9E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404786" y="2001973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561D6C5-C10B-443C-B2FA-9D56B1984C79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3388920" y="1997656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D014CE33-0AF2-4D70-9BF6-B1EE278ACE92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9357188" y="1997656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9310912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8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437C81F6-288B-4CD6-8434-31E05629586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D7927E3E-1782-4A07-BD59-371C4D8227B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934B8D39-A21D-4C23-9BB3-0812B9F088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F763B716-FDA1-4D3C-824D-1B00864184A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9679F60-0A60-49CD-A33B-A0143C31A6D1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1CD4711-4D41-4B4B-B260-0ED56BC260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254991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60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668B2CFD-22F1-4431-AF94-F5F28A5873D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36BACE50-F370-4AF7-A623-EFA8E8D0FB5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4160477B-743B-492A-BC15-89FE6D09C2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77A23A92-4733-4D64-9578-199845FA400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2143B5D6-D335-415F-ABD0-9712884C01B1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4DA76F43-5248-440F-A481-AE3424C906A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0534233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63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C0E9943-F655-4D87-8A71-C5CD7B1F33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6438B2F-8ED1-4D14-A1C7-E9F68322689E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ACDC552B-8CDA-48CA-A8A8-811FCC54FFE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C8F73D43-A7D3-4516-ABE8-FE463CC621C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63ED53C-324B-4E02-A190-3A1DB4E58E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15860257-6371-40C0-A1CD-7F88E895871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C64E4412-2519-4051-AC29-ED56CF367D6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894B4D6-48C5-485B-A19E-2E2EFB7416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661155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Violet Bg with lin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65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C0E9943-F655-4D87-8A71-C5CD7B1F33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6438B2F-8ED1-4D14-A1C7-E9F68322689E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ACDC552B-8CDA-48CA-A8A8-811FCC54FFE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C8F73D43-A7D3-4516-ABE8-FE463CC621C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63ED53C-324B-4E02-A190-3A1DB4E58E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15860257-6371-40C0-A1CD-7F88E895871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C64E4412-2519-4051-AC29-ED56CF367D6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894B4D6-48C5-485B-A19E-2E2EFB7416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23DB9D5B-DC75-428B-A756-12D2B3B16114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81074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7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B84738E-FC65-4057-B3F9-EDDD50E90A8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87E670E-DB4B-44E8-8FE3-D62DABA7F3D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614C37-0687-453B-98AC-92943109E11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63FE658E-9ADA-4627-B4E3-4DE0E374FD5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08D919A-4DF1-46CD-A2AE-41E585FD8A4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511B61A5-D4C6-4685-8C16-DCFA216B9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F2B16B7C-A9B4-4FD7-826E-9D73B19E65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B0C6C810-3AC8-4CF2-81C8-1D7058CBD4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BDDDA5B-7CD0-43A3-9A8B-D5946ECB06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8007915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Violet Bg with lin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70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B84738E-FC65-4057-B3F9-EDDD50E90A8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87E670E-DB4B-44E8-8FE3-D62DABA7F3D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614C37-0687-453B-98AC-92943109E11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63FE658E-9ADA-4627-B4E3-4DE0E374FD5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08D919A-4DF1-46CD-A2AE-41E585FD8A4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511B61A5-D4C6-4685-8C16-DCFA216B9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F2B16B7C-A9B4-4FD7-826E-9D73B19E65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B0C6C810-3AC8-4CF2-81C8-1D7058CBD4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BDDDA5B-7CD0-43A3-9A8B-D5946ECB06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7" name="Straight Connector 35">
            <a:extLst>
              <a:ext uri="{FF2B5EF4-FFF2-40B4-BE49-F238E27FC236}">
                <a16:creationId xmlns:a16="http://schemas.microsoft.com/office/drawing/2014/main" id="{983523C1-7153-4692-B90B-65F30FC43340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68E2FD7F-148A-4626-93A8-57B0F05B1379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268660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Violet Bg 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72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8126291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3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0FC6D31B-8418-47E2-BEC8-4C4D884AEE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7503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0FC6D31B-8418-47E2-BEC8-4C4D884AE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BFC7BE2-5BD4-49F5-A3FC-FE37C1AC966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A7CC7BB1-2504-412F-9361-BB77A4C066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C8046952-CF6F-4606-B04F-66EE0742EF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 of the chapter</a:t>
            </a: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12566D07-C10F-4149-9D24-43409582809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1" name="Espace réservé du numéro de diapositive 2">
            <a:extLst>
              <a:ext uri="{FF2B5EF4-FFF2-40B4-BE49-F238E27FC236}">
                <a16:creationId xmlns:a16="http://schemas.microsoft.com/office/drawing/2014/main" id="{DA7B4581-DBF3-4675-85A2-573E4F1A22C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9E7FCC28-2779-438A-83C5-F5B120BFA1B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</p:spTree>
    <p:extLst>
      <p:ext uri="{BB962C8B-B14F-4D97-AF65-F5344CB8AC3E}">
        <p14:creationId xmlns:p14="http://schemas.microsoft.com/office/powerpoint/2010/main" val="20184647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56">
          <p15:clr>
            <a:srgbClr val="F26B43"/>
          </p15:clr>
        </p15:guide>
        <p15:guide id="2" orient="horz" pos="3906">
          <p15:clr>
            <a:srgbClr val="F26B43"/>
          </p15:clr>
        </p15:guide>
        <p15:guide id="3" pos="288">
          <p15:clr>
            <a:srgbClr val="F26B43"/>
          </p15:clr>
        </p15:guide>
        <p15:guide id="4" pos="360">
          <p15:clr>
            <a:srgbClr val="A4A3A4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Violet Bg with lin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75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776210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7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1FF10C85-C858-42F2-83FC-085ECE0AD8C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63819D-3826-4C37-A6B2-F6BF2FA7C1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E3BBFF9-605D-4045-AFCA-0630CAF6290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415503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9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63819D-3826-4C37-A6B2-F6BF2FA7C1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E3BBFF9-605D-4045-AFCA-0630CAF6290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1470046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82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 marL="542925" indent="0">
              <a:buNone/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-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6B1772CC-CE52-4E78-B63F-76A973F91E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72A123BC-64B8-4F7B-855D-41D9EB63A6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5627800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84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6B1772CC-CE52-4E78-B63F-76A973F91E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DAB39EE-A592-42CC-A3A7-B1D1A851EA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1A62086C-76E4-4718-9B87-7C2FB483077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1F85B39E-ADE6-4814-B538-973092E927F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8" name="Espace réservé du texte 4">
            <a:extLst>
              <a:ext uri="{FF2B5EF4-FFF2-40B4-BE49-F238E27FC236}">
                <a16:creationId xmlns:a16="http://schemas.microsoft.com/office/drawing/2014/main" id="{9CE6EC93-06F2-4F91-965C-189C479505A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F78CE628-C138-44AB-BF90-4CD6DCBF6C9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0" name="Espace réservé du texte 15">
            <a:extLst>
              <a:ext uri="{FF2B5EF4-FFF2-40B4-BE49-F238E27FC236}">
                <a16:creationId xmlns:a16="http://schemas.microsoft.com/office/drawing/2014/main" id="{6683BE0B-F7A1-470B-9F10-E4277EE351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2" name="Espace réservé du texte 15">
            <a:extLst>
              <a:ext uri="{FF2B5EF4-FFF2-40B4-BE49-F238E27FC236}">
                <a16:creationId xmlns:a16="http://schemas.microsoft.com/office/drawing/2014/main" id="{4171E4E7-27E3-4CAE-8117-8B0985E3269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CF196C90-BFA5-4EB1-809E-257C96ED6B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4" name="Espace réservé du texte 15">
            <a:extLst>
              <a:ext uri="{FF2B5EF4-FFF2-40B4-BE49-F238E27FC236}">
                <a16:creationId xmlns:a16="http://schemas.microsoft.com/office/drawing/2014/main" id="{BA8D7796-2153-4B06-BE09-A751E28741D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117206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7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6B1772CC-CE52-4E78-B63F-76A973F91E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72A123BC-64B8-4F7B-855D-41D9EB63A6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FFF7EE1B-7DB4-488B-B26D-A38B11675A8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3" name="Espace réservé du texte 4">
            <a:extLst>
              <a:ext uri="{FF2B5EF4-FFF2-40B4-BE49-F238E27FC236}">
                <a16:creationId xmlns:a16="http://schemas.microsoft.com/office/drawing/2014/main" id="{96518655-1BBA-4FB9-A1A1-87676ECAF40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8634DFA4-CD88-4C57-A92C-47493D245D0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09285BF7-E824-44DC-8939-2EEDF8EAB5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15">
            <a:extLst>
              <a:ext uri="{FF2B5EF4-FFF2-40B4-BE49-F238E27FC236}">
                <a16:creationId xmlns:a16="http://schemas.microsoft.com/office/drawing/2014/main" id="{7EA390A2-E2D4-4D20-BDB9-C874325BA37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7" name="Espace réservé du texte 15">
            <a:extLst>
              <a:ext uri="{FF2B5EF4-FFF2-40B4-BE49-F238E27FC236}">
                <a16:creationId xmlns:a16="http://schemas.microsoft.com/office/drawing/2014/main" id="{1564D801-B0E6-43C3-8B94-0E89FD96100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8" name="Espace réservé du texte 15">
            <a:extLst>
              <a:ext uri="{FF2B5EF4-FFF2-40B4-BE49-F238E27FC236}">
                <a16:creationId xmlns:a16="http://schemas.microsoft.com/office/drawing/2014/main" id="{461F3D26-7698-4382-817D-06AE9A8CDF0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B611E923-D3EE-49B7-A936-85891DEAA7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id="{F37A373E-B0C6-4A3A-88BD-3C093DFFB918}"/>
              </a:ext>
            </a:extLst>
          </p:cNvPr>
          <p:cNvCxnSpPr>
            <a:cxnSpLocks/>
          </p:cNvCxnSpPr>
          <p:nvPr userDrawn="1"/>
        </p:nvCxnSpPr>
        <p:spPr>
          <a:xfrm flipV="1">
            <a:off x="309480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5">
            <a:extLst>
              <a:ext uri="{FF2B5EF4-FFF2-40B4-BE49-F238E27FC236}">
                <a16:creationId xmlns:a16="http://schemas.microsoft.com/office/drawing/2014/main" id="{0BDAA492-5340-46F7-A09D-5F68BE925AB6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9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5">
            <a:extLst>
              <a:ext uri="{FF2B5EF4-FFF2-40B4-BE49-F238E27FC236}">
                <a16:creationId xmlns:a16="http://schemas.microsoft.com/office/drawing/2014/main" id="{8EDA2254-B51E-42A4-9F98-3E60FD4D7E0B}"/>
              </a:ext>
            </a:extLst>
          </p:cNvPr>
          <p:cNvCxnSpPr>
            <a:cxnSpLocks/>
          </p:cNvCxnSpPr>
          <p:nvPr userDrawn="1"/>
        </p:nvCxnSpPr>
        <p:spPr>
          <a:xfrm flipV="1">
            <a:off x="909719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97802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[V2]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9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6B1772CC-CE52-4E78-B63F-76A973F91E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DAB39EE-A592-42CC-A3A7-B1D1A851EA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5FBBBE71-038F-47FD-AA2F-DDF7087FA88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3" name="Espace réservé du texte 4">
            <a:extLst>
              <a:ext uri="{FF2B5EF4-FFF2-40B4-BE49-F238E27FC236}">
                <a16:creationId xmlns:a16="http://schemas.microsoft.com/office/drawing/2014/main" id="{019C832B-ADC5-4655-A9BB-B9E27C49AAA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33B8FF24-5350-4358-8A61-01E632CBA03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F6A611CF-4A0C-414F-97D1-05D2E00D94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15">
            <a:extLst>
              <a:ext uri="{FF2B5EF4-FFF2-40B4-BE49-F238E27FC236}">
                <a16:creationId xmlns:a16="http://schemas.microsoft.com/office/drawing/2014/main" id="{14D079C5-56C5-4829-9279-B9D159053C0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7" name="Espace réservé du texte 15">
            <a:extLst>
              <a:ext uri="{FF2B5EF4-FFF2-40B4-BE49-F238E27FC236}">
                <a16:creationId xmlns:a16="http://schemas.microsoft.com/office/drawing/2014/main" id="{A8B2B706-3906-4253-B6DB-A7C2AFD16B1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8" name="Espace réservé du texte 15">
            <a:extLst>
              <a:ext uri="{FF2B5EF4-FFF2-40B4-BE49-F238E27FC236}">
                <a16:creationId xmlns:a16="http://schemas.microsoft.com/office/drawing/2014/main" id="{829361D3-585B-4494-AC11-E01E8991D2B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46550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 on the slide </a:t>
            </a:r>
            <a:br>
              <a:rPr lang="en-GB"/>
            </a:br>
            <a:r>
              <a:rPr lang="en-GB"/>
              <a:t>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432D91E9-DE40-4B4D-9E1B-9DBA866F339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1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id="{4D161E9A-7872-4440-9E61-28B41BBA4C74}"/>
              </a:ext>
            </a:extLst>
          </p:cNvPr>
          <p:cNvCxnSpPr>
            <a:cxnSpLocks/>
          </p:cNvCxnSpPr>
          <p:nvPr userDrawn="1"/>
        </p:nvCxnSpPr>
        <p:spPr>
          <a:xfrm flipV="1">
            <a:off x="309480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5">
            <a:extLst>
              <a:ext uri="{FF2B5EF4-FFF2-40B4-BE49-F238E27FC236}">
                <a16:creationId xmlns:a16="http://schemas.microsoft.com/office/drawing/2014/main" id="{CBF43B31-2F37-4F9B-ABAB-B30C401656C8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9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5">
            <a:extLst>
              <a:ext uri="{FF2B5EF4-FFF2-40B4-BE49-F238E27FC236}">
                <a16:creationId xmlns:a16="http://schemas.microsoft.com/office/drawing/2014/main" id="{29B91B6C-BAB5-4232-87EA-0EA2E4093CD3}"/>
              </a:ext>
            </a:extLst>
          </p:cNvPr>
          <p:cNvCxnSpPr>
            <a:cxnSpLocks/>
          </p:cNvCxnSpPr>
          <p:nvPr userDrawn="1"/>
        </p:nvCxnSpPr>
        <p:spPr>
          <a:xfrm flipV="1">
            <a:off x="909719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99545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1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3D36ADE6-0DA4-44E3-B987-5881099F82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E3F45E-E84E-4C33-9A96-378F378EB3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6454927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94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3D36ADE6-0DA4-44E3-B987-5881099F82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4B90A9-86C7-4CA7-AC86-9B7C03D231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515C157A-6F74-44A8-9785-4A8F9335C02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A3F60031-8B36-438E-A717-35784DD2D5A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2942971D-C98D-4428-A689-9423825AAD8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A6334CC9-1D70-4436-83AA-B17CBD59311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20EA07A4-D40F-47BA-8114-083CB3AD11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B648F2B2-21C5-4074-BA28-735D9BA020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7336877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6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3D36ADE6-0DA4-44E3-B987-5881099F82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E3F45E-E84E-4C33-9A96-378F378EB3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8AD0E370-DCF9-49CD-9EA7-8B8AC362457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CEAFF2D8-1A9C-44B0-9198-6142941FCDB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E3D7F208-6D50-442A-A3BA-61611E5E86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E8F2F6B4-2140-44C5-A120-32F8342665F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1CF7206F-481C-4380-B8D3-416C8CFAAA3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A48E232D-A901-4275-8D27-BF6BBBAB33F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cxnSp>
        <p:nvCxnSpPr>
          <p:cNvPr id="28" name="Straight Connector 35">
            <a:extLst>
              <a:ext uri="{FF2B5EF4-FFF2-40B4-BE49-F238E27FC236}">
                <a16:creationId xmlns:a16="http://schemas.microsoft.com/office/drawing/2014/main" id="{24D521F1-2193-411F-B113-AC0566A258B2}"/>
              </a:ext>
            </a:extLst>
          </p:cNvPr>
          <p:cNvCxnSpPr>
            <a:cxnSpLocks/>
          </p:cNvCxnSpPr>
          <p:nvPr userDrawn="1"/>
        </p:nvCxnSpPr>
        <p:spPr>
          <a:xfrm flipV="1">
            <a:off x="404291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5">
            <a:extLst>
              <a:ext uri="{FF2B5EF4-FFF2-40B4-BE49-F238E27FC236}">
                <a16:creationId xmlns:a16="http://schemas.microsoft.com/office/drawing/2014/main" id="{39E588EC-DE9F-4E69-916F-F600E76412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138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8355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sual in b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809EBE8-0C7E-4ABF-B776-8E09915DB959}"/>
              </a:ext>
            </a:extLst>
          </p:cNvPr>
          <p:cNvSpPr/>
          <p:nvPr userDrawn="1"/>
        </p:nvSpPr>
        <p:spPr>
          <a:xfrm>
            <a:off x="1931" y="2101"/>
            <a:ext cx="10097918" cy="6852677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0000"/>
                </a:schemeClr>
              </a:gs>
              <a:gs pos="50000">
                <a:srgbClr val="000000">
                  <a:alpha val="0"/>
                </a:srgb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63F05E0D-3D04-4017-9808-762862E50409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FD65DF1D-0D1A-471B-8283-644A0E829D66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55CF31FB-0777-4002-8B91-D7D76860398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2" name="Espace réservé du numéro de diapositive 2">
            <a:extLst>
              <a:ext uri="{FF2B5EF4-FFF2-40B4-BE49-F238E27FC236}">
                <a16:creationId xmlns:a16="http://schemas.microsoft.com/office/drawing/2014/main" id="{5E6B0BDD-2859-4F0A-A7E1-A44BEFADC16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F5A26E8D-D486-4A59-828C-BE9E51CDB5D2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6838E746-8C0D-4144-AC8E-FA9CF117C2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/TEXT OF THE SLIDE</a:t>
            </a:r>
          </a:p>
        </p:txBody>
      </p:sp>
    </p:spTree>
    <p:extLst>
      <p:ext uri="{BB962C8B-B14F-4D97-AF65-F5344CB8AC3E}">
        <p14:creationId xmlns:p14="http://schemas.microsoft.com/office/powerpoint/2010/main" val="1164268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306">
          <p15:clr>
            <a:srgbClr val="A4A3A4"/>
          </p15:clr>
        </p15:guide>
      </p15:sldGuideLst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[V2]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9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3D36ADE6-0DA4-44E3-B987-5881099F82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4B90A9-86C7-4CA7-AC86-9B7C03D231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B3E82CFB-97D6-45D7-BADA-9AB9D04832F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BFDAFBE7-77A0-416D-9494-5416435885C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44582077-3607-4624-94EF-42536719D7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D0D64E5F-2B42-446B-9608-5610CA2AC36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4FDFF29E-822C-437E-B6C9-C13E38631E2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99E1DAEB-5F78-44FD-A2AD-EF997D472D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cxnSp>
        <p:nvCxnSpPr>
          <p:cNvPr id="28" name="Straight Connector 35">
            <a:extLst>
              <a:ext uri="{FF2B5EF4-FFF2-40B4-BE49-F238E27FC236}">
                <a16:creationId xmlns:a16="http://schemas.microsoft.com/office/drawing/2014/main" id="{2C504288-9A20-4118-B47D-A6EBD7BD1D88}"/>
              </a:ext>
            </a:extLst>
          </p:cNvPr>
          <p:cNvCxnSpPr>
            <a:cxnSpLocks/>
          </p:cNvCxnSpPr>
          <p:nvPr userDrawn="1"/>
        </p:nvCxnSpPr>
        <p:spPr>
          <a:xfrm flipV="1">
            <a:off x="404291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5">
            <a:extLst>
              <a:ext uri="{FF2B5EF4-FFF2-40B4-BE49-F238E27FC236}">
                <a16:creationId xmlns:a16="http://schemas.microsoft.com/office/drawing/2014/main" id="{EC5596AD-B23F-45D5-9FA4-416451B248F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138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2884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box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01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6256" y="1993900"/>
            <a:ext cx="2378846" cy="369332"/>
          </a:xfr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1232" y="1993900"/>
            <a:ext cx="2378846" cy="369332"/>
          </a:xfr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6208" y="1993900"/>
            <a:ext cx="2378846" cy="369332"/>
          </a:xfrm>
          <a:solidFill>
            <a:schemeClr val="accent4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83" y="1993900"/>
            <a:ext cx="2378846" cy="369332"/>
          </a:xfrm>
          <a:solidFill>
            <a:schemeClr val="accent1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887" y="263411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0985" y="263411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16083" y="263411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31182" y="263411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6B1772CC-CE52-4E78-B63F-76A973F91E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340DE3B-4ADD-48BE-BCE6-7FE7A77863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9720184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box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03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6256" y="1993900"/>
            <a:ext cx="2378846" cy="369332"/>
          </a:xfr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1232" y="1993900"/>
            <a:ext cx="2378846" cy="369332"/>
          </a:xfr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6208" y="1993900"/>
            <a:ext cx="2378846" cy="369332"/>
          </a:xfrm>
          <a:solidFill>
            <a:schemeClr val="accent3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83" y="1993900"/>
            <a:ext cx="2378846" cy="369332"/>
          </a:xfrm>
          <a:solidFill>
            <a:schemeClr val="accent1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887" y="263411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0985" y="263411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16083" y="263411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31182" y="263411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 marL="758825" indent="0">
              <a:buNone/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6B1772CC-CE52-4E78-B63F-76A973F91E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ED3FC135-82C8-4A96-888D-AB8CE896130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7385170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box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06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775" y="263411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50146" y="263411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7062" y="263411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6143" y="1993899"/>
            <a:ext cx="3195009" cy="369332"/>
          </a:xfr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50330" y="1993899"/>
            <a:ext cx="3195009" cy="369332"/>
          </a:xfr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17062" y="1993899"/>
            <a:ext cx="3195009" cy="369332"/>
          </a:xfrm>
          <a:solidFill>
            <a:schemeClr val="accent4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3D36ADE6-0DA4-44E3-B987-5881099F82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DF5ACA36-D848-4F29-92F9-47321029F3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4210912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box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8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775" y="263411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50146" y="263411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7062" y="263411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6143" y="1993899"/>
            <a:ext cx="3195009" cy="369332"/>
          </a:xfr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50330" y="1993899"/>
            <a:ext cx="3195009" cy="369332"/>
          </a:xfr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17062" y="1993899"/>
            <a:ext cx="3195009" cy="369332"/>
          </a:xfrm>
          <a:solidFill>
            <a:schemeClr val="accent3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3D36ADE6-0DA4-44E3-B987-5881099F82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8E6DE7D-0FB2-4B25-A7F7-95C4D06B932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4407143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11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7DF1024-681A-4B64-B209-B8AE20F4C7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0156DF7-56BC-40D5-8DA8-2F22C6D867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Espace réservé du numéro de diapositive 2">
            <a:extLst>
              <a:ext uri="{FF2B5EF4-FFF2-40B4-BE49-F238E27FC236}">
                <a16:creationId xmlns:a16="http://schemas.microsoft.com/office/drawing/2014/main" id="{050AD626-E7A4-427F-9A3F-B6A6BA21F6B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A9AA2E6C-EBCE-4B97-AB00-23968A3265E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17C93FA-7D2C-4658-80E0-B891EA08A0C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801394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3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batim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13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grpSp>
        <p:nvGrpSpPr>
          <p:cNvPr id="18" name="Group 10">
            <a:extLst>
              <a:ext uri="{FF2B5EF4-FFF2-40B4-BE49-F238E27FC236}">
                <a16:creationId xmlns:a16="http://schemas.microsoft.com/office/drawing/2014/main" id="{37034E82-C110-4AF1-81C9-1B2FF8608B01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tx2"/>
          </a:solidFill>
        </p:grpSpPr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BD7A13DF-71B0-4DF3-9670-ECE3232317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C79DC92B-9CE8-407F-B93F-CA5ACD8F2E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</p:spPr>
        <p:txBody>
          <a:bodyPr anchor="b">
            <a:normAutofit/>
          </a:bodyPr>
          <a:lstStyle>
            <a:lvl1pPr marL="0" indent="0">
              <a:buNone/>
              <a:defRPr sz="2800"/>
            </a:lvl1pPr>
          </a:lstStyle>
          <a:p>
            <a:pPr lvl="0"/>
            <a:r>
              <a:rPr lang="en-GB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36285"/>
            <a:ext cx="9436100" cy="338554"/>
          </a:xfr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Name, Position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69A5C51-135A-4539-8A83-F2DE50C157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</p:spTree>
    <p:extLst>
      <p:ext uri="{BB962C8B-B14F-4D97-AF65-F5344CB8AC3E}">
        <p14:creationId xmlns:p14="http://schemas.microsoft.com/office/powerpoint/2010/main" val="3902388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batim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5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</p:spPr>
        <p:txBody>
          <a:bodyPr anchor="b">
            <a:normAutofit/>
          </a:bodyPr>
          <a:lstStyle>
            <a:lvl1pPr marL="0" indent="0">
              <a:buNone/>
              <a:defRPr sz="2800"/>
            </a:lvl1pPr>
          </a:lstStyle>
          <a:p>
            <a:pPr lvl="0"/>
            <a:r>
              <a:rPr lang="en-GB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36285"/>
            <a:ext cx="9436100" cy="338554"/>
          </a:xfr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Name, Position</a:t>
            </a:r>
          </a:p>
        </p:txBody>
      </p:sp>
      <p:grpSp>
        <p:nvGrpSpPr>
          <p:cNvPr id="13" name="Group 10">
            <a:extLst>
              <a:ext uri="{FF2B5EF4-FFF2-40B4-BE49-F238E27FC236}">
                <a16:creationId xmlns:a16="http://schemas.microsoft.com/office/drawing/2014/main" id="{4A038897-2792-4479-8EAB-9A8ABDE74F32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bg2"/>
          </a:solidFill>
        </p:grpSpPr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BECFD5B3-64F4-4C51-A672-EBE7467808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099295A6-576A-454D-9A3A-8717776883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9F4AF75B-C07F-40D0-9789-3B7669A974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</p:spTree>
    <p:extLst>
      <p:ext uri="{BB962C8B-B14F-4D97-AF65-F5344CB8AC3E}">
        <p14:creationId xmlns:p14="http://schemas.microsoft.com/office/powerpoint/2010/main" val="41071024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batim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774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</p:spPr>
        <p:txBody>
          <a:bodyPr anchor="b"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60907"/>
            <a:ext cx="9436100" cy="313932"/>
          </a:xfr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Name, Position</a:t>
            </a:r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4F76921A-1CA6-45D7-A760-D7C080EEEB2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grpSp>
        <p:nvGrpSpPr>
          <p:cNvPr id="16" name="Group 10">
            <a:extLst>
              <a:ext uri="{FF2B5EF4-FFF2-40B4-BE49-F238E27FC236}">
                <a16:creationId xmlns:a16="http://schemas.microsoft.com/office/drawing/2014/main" id="{B5EE29BA-2D73-4E72-A1CA-6B221F770E63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bg1"/>
          </a:solidFill>
        </p:grpSpPr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07E82261-878F-41AC-82EB-D8EEDA8D47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16276F45-0CAF-4CAB-9066-CAABA52E25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BCFA5C14-C9CA-4FFB-9083-AE890C41C0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D4126967-78A5-497D-A140-B29A3E7B98F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38B07116-5D1F-4AA7-9788-74A3139F7BB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</p:spTree>
    <p:extLst>
      <p:ext uri="{BB962C8B-B14F-4D97-AF65-F5344CB8AC3E}">
        <p14:creationId xmlns:p14="http://schemas.microsoft.com/office/powerpoint/2010/main" val="26575493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pour une image  14">
            <a:extLst>
              <a:ext uri="{FF2B5EF4-FFF2-40B4-BE49-F238E27FC236}">
                <a16:creationId xmlns:a16="http://schemas.microsoft.com/office/drawing/2014/main" id="{CF658DAE-7146-4BB8-8107-92D632B4BBF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123892" y="0"/>
            <a:ext cx="7068108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/>
              <a:t> 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20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C255F4D-0F63-429F-A210-8AB39E1597B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4431074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8F43575F-7025-4100-95D8-AB5D8B996E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</a:t>
            </a:r>
            <a:r>
              <a:rPr lang="fr-FR" err="1"/>
              <a:t>slidE</a:t>
            </a:r>
            <a:endParaRPr lang="fr-FR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3946F594-BA66-4464-A354-77BE6FF12C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1843EEE-85CE-4470-99A7-7C858A8238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7115685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3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 of the chapter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44FFDEA7-E33B-4F69-A94F-C24D4C06C36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55EF3A58-D397-4CE4-A40D-2D27231A07F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87E7F813-4752-4D6D-9FC9-975E797C55B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</p:spTree>
    <p:extLst>
      <p:ext uri="{BB962C8B-B14F-4D97-AF65-F5344CB8AC3E}">
        <p14:creationId xmlns:p14="http://schemas.microsoft.com/office/powerpoint/2010/main" val="12436048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</a:t>
            </a:r>
            <a:r>
              <a:rPr lang="fr-FR" err="1"/>
              <a:t>slidE</a:t>
            </a:r>
            <a:endParaRPr lang="fr-FR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702851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</a:t>
            </a:r>
            <a:r>
              <a:rPr lang="fr-FR" err="1"/>
              <a:t>slidE</a:t>
            </a:r>
            <a:endParaRPr lang="fr-FR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9457671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</a:t>
            </a:r>
            <a:r>
              <a:rPr lang="fr-FR" err="1"/>
              <a:t>slidE</a:t>
            </a:r>
            <a:endParaRPr lang="fr-FR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FC8FF2AF-06A0-4B8B-9C11-55AAD938CF0A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2BA67531-D311-47B7-B960-48B899E690DC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026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[V2]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</a:t>
            </a:r>
            <a:r>
              <a:rPr lang="fr-FR" err="1"/>
              <a:t>slidE</a:t>
            </a:r>
            <a:endParaRPr lang="fr-FR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2F8C33B5-002C-4EF1-B673-4461C926FCC8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A95AE8C0-70B8-4713-90A9-411938A16F46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759847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FC2D6908-8D7A-4CE7-9DE7-6E0F205FAC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TITLE OF THE SLIDE</a:t>
            </a:r>
          </a:p>
        </p:txBody>
      </p:sp>
      <p:sp>
        <p:nvSpPr>
          <p:cNvPr id="13" name="Espace réservé du numéro de diapositive 2">
            <a:extLst>
              <a:ext uri="{FF2B5EF4-FFF2-40B4-BE49-F238E27FC236}">
                <a16:creationId xmlns:a16="http://schemas.microsoft.com/office/drawing/2014/main" id="{24ADEA99-782B-4EA9-8B50-5C36455F7ED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id="{1C65FA57-AC6F-4E7C-BFE5-E8B5F9BC459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894C1CDE-19D4-4D84-B267-37EEF280E79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903368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10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</a:t>
            </a:r>
            <a:r>
              <a:rPr lang="fr-FR" err="1"/>
              <a:t>slidE</a:t>
            </a:r>
            <a:endParaRPr lang="fr-FR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7178457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</a:t>
            </a:r>
            <a:r>
              <a:rPr lang="fr-FR" err="1"/>
              <a:t>slidE</a:t>
            </a:r>
            <a:endParaRPr lang="fr-FR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308425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</a:t>
            </a:r>
            <a:r>
              <a:rPr lang="fr-FR" err="1"/>
              <a:t>slidE</a:t>
            </a:r>
            <a:endParaRPr lang="fr-FR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46EDFA8F-1089-4EDE-804F-C8EEA747D94B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E1FE6121-B033-48ED-8125-9D7B1EB9D180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02372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[V2]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</a:t>
            </a:r>
            <a:r>
              <a:rPr lang="fr-FR" err="1"/>
              <a:t>slidE</a:t>
            </a:r>
            <a:endParaRPr lang="fr-FR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07307D6C-CFED-478A-8521-38542B995C3C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38E10114-9C0F-4DDB-BF6F-27B6517277F2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52342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Visual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Espace réservé pour une image  3">
            <a:extLst>
              <a:ext uri="{FF2B5EF4-FFF2-40B4-BE49-F238E27FC236}">
                <a16:creationId xmlns:a16="http://schemas.microsoft.com/office/drawing/2014/main" id="{DEEBD65F-9282-4B5F-A1DF-2D1CD3CF8043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2060848"/>
            <a:ext cx="3121480" cy="273630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28" name="Espace réservé pour une image  3">
            <a:extLst>
              <a:ext uri="{FF2B5EF4-FFF2-40B4-BE49-F238E27FC236}">
                <a16:creationId xmlns:a16="http://schemas.microsoft.com/office/drawing/2014/main" id="{92DC38E2-6433-425A-AC4B-48625A6E880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2060848"/>
            <a:ext cx="3121480" cy="273630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29" name="Espace réservé pour une image  3">
            <a:extLst>
              <a:ext uri="{FF2B5EF4-FFF2-40B4-BE49-F238E27FC236}">
                <a16:creationId xmlns:a16="http://schemas.microsoft.com/office/drawing/2014/main" id="{D5B047C5-121C-4653-820B-DD6B2F6EE10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2060848"/>
            <a:ext cx="3121480" cy="273630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1AD6EB8C-2615-4D88-8541-9EF352E77B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0" name="Espace réservé du numéro de diapositive 2">
            <a:extLst>
              <a:ext uri="{FF2B5EF4-FFF2-40B4-BE49-F238E27FC236}">
                <a16:creationId xmlns:a16="http://schemas.microsoft.com/office/drawing/2014/main" id="{D9D196F0-E493-49D2-9F1C-A192712DF1B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1DA3D5A4-C7A8-4D4E-87EB-5E1B7984273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C0063D2-D9CA-443F-8ADD-8084E6CAF0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7697965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  <p15:guide id="6" pos="306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5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 of the chapter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D3C70FEB-0084-4E37-8AC4-3A50B2EA056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97928A40-4AA3-49EF-9556-BDB555D654B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F59241AE-0D4A-4924-9503-149B6B5F1252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</p:spTree>
    <p:extLst>
      <p:ext uri="{BB962C8B-B14F-4D97-AF65-F5344CB8AC3E}">
        <p14:creationId xmlns:p14="http://schemas.microsoft.com/office/powerpoint/2010/main" val="27362322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43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06C9BA4-2C1A-4C1C-ABBD-87F774202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4"/>
            <a:ext cx="2498984" cy="24989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4"/>
            <a:ext cx="2498984" cy="24989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4"/>
            <a:ext cx="2498984" cy="24989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3"/>
            <a:ext cx="3121480" cy="640175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3"/>
            <a:ext cx="3121480" cy="640175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3"/>
            <a:ext cx="3121480" cy="640175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9F68698D-F3B0-4788-AF4C-465233CDAD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C6A7D93F-558B-468A-BD97-4A324D31E45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D836BAF7-4960-44BE-976B-FA96BE235CD4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0FD6EC61-BEBC-4E54-BC44-9C1775E7065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045555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26B43"/>
          </p15:clr>
        </p15:guide>
        <p15:guide id="2" orient="horz" pos="613">
          <p15:clr>
            <a:srgbClr val="F26B43"/>
          </p15:clr>
        </p15:guide>
        <p15:guide id="3" pos="247">
          <p15:clr>
            <a:srgbClr val="F26B43"/>
          </p15:clr>
        </p15:guide>
        <p15:guide id="4" pos="7424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act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545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06C9BA4-2C1A-4C1C-ABBD-87F774202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4"/>
            <a:ext cx="2498984" cy="24989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4"/>
            <a:ext cx="2498984" cy="24989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4"/>
            <a:ext cx="2498984" cy="24989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3"/>
            <a:ext cx="3121480" cy="640175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3"/>
            <a:ext cx="3121480" cy="640175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3"/>
            <a:ext cx="3121480" cy="640175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655BB120-DEC8-4862-A749-F95DCFBBD8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884DC4C2-9D2C-4842-A411-C0331690990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80203216-1526-40D8-82F2-453F753FA3DB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2B73FA08-BEBA-4849-818A-CAA0CE59A66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6107087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26B43"/>
          </p15:clr>
        </p15:guide>
        <p15:guide id="2" orient="horz" pos="613">
          <p15:clr>
            <a:srgbClr val="F26B43"/>
          </p15:clr>
        </p15:guide>
        <p15:guide id="3" pos="247">
          <p15:clr>
            <a:srgbClr val="F26B43"/>
          </p15:clr>
        </p15:guide>
        <p15:guide id="4" pos="7424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A7272C5A-A11F-4DD3-BF54-F64C82B84D6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A59EA477-4D96-4C94-A268-87C2D94F085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337250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06595BE-8670-4A5F-B6E3-C00B54377605}"/>
              </a:ext>
            </a:extLst>
          </p:cNvPr>
          <p:cNvSpPr/>
          <p:nvPr userDrawn="1"/>
        </p:nvSpPr>
        <p:spPr>
          <a:xfrm>
            <a:off x="-1" y="0"/>
            <a:ext cx="598798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Espace réservé du numéro de diapositive 2">
            <a:extLst>
              <a:ext uri="{FF2B5EF4-FFF2-40B4-BE49-F238E27FC236}">
                <a16:creationId xmlns:a16="http://schemas.microsoft.com/office/drawing/2014/main" id="{4E9F0883-33F3-4D62-A0A5-04FAA00189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7CE4141A-CB17-4D34-9EF4-654584A2F66C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</p:spTree>
    <p:extLst>
      <p:ext uri="{BB962C8B-B14F-4D97-AF65-F5344CB8AC3E}">
        <p14:creationId xmlns:p14="http://schemas.microsoft.com/office/powerpoint/2010/main" val="21672568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al on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49086DD-2C7D-4896-95DA-63FF2B90DC0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123892" y="0"/>
            <a:ext cx="7068108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/>
              <a:t> 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B52F0521-4D9F-4207-B1DF-7BCF176045C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0FDE419E-CB0C-43DC-A5A5-526480C8B10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768152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91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Image 8" descr="Une image contenant objet&#10;&#10;Description générée automatiquement">
            <a:extLst>
              <a:ext uri="{FF2B5EF4-FFF2-40B4-BE49-F238E27FC236}">
                <a16:creationId xmlns:a16="http://schemas.microsoft.com/office/drawing/2014/main" id="{7AB34238-B7E0-4612-92CE-C4989B35C0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pic>
        <p:nvPicPr>
          <p:cNvPr id="7" name="Graphique 12">
            <a:extLst>
              <a:ext uri="{FF2B5EF4-FFF2-40B4-BE49-F238E27FC236}">
                <a16:creationId xmlns:a16="http://schemas.microsoft.com/office/drawing/2014/main" id="{4A97E8AF-E7A3-48CB-93FA-FB7ABD189EE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9366986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615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C539E3ED-BDF3-459B-ADDB-C44E9D3916BA}"/>
              </a:ext>
            </a:extLst>
          </p:cNvPr>
          <p:cNvSpPr txBox="1"/>
          <p:nvPr userDrawn="1"/>
        </p:nvSpPr>
        <p:spPr>
          <a:xfrm>
            <a:off x="515380" y="944724"/>
            <a:ext cx="341632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200" b="1">
                <a:solidFill>
                  <a:schemeClr val="bg1"/>
                </a:solidFill>
                <a:latin typeface="+mn-lt"/>
              </a:rPr>
              <a:t>THANK</a:t>
            </a:r>
          </a:p>
        </p:txBody>
      </p:sp>
      <p:pic>
        <p:nvPicPr>
          <p:cNvPr id="14" name="Image 13" descr="Une image contenant objet&#10;&#10;Description générée automatiquement">
            <a:extLst>
              <a:ext uri="{FF2B5EF4-FFF2-40B4-BE49-F238E27FC236}">
                <a16:creationId xmlns:a16="http://schemas.microsoft.com/office/drawing/2014/main" id="{F8221D8A-EA7F-4431-BA65-C4F6154E89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20" name="ZoneTexte 19">
            <a:extLst>
              <a:ext uri="{FF2B5EF4-FFF2-40B4-BE49-F238E27FC236}">
                <a16:creationId xmlns:a16="http://schemas.microsoft.com/office/drawing/2014/main" id="{6EB9C8AA-305A-4586-B066-7FD90B345C8E}"/>
              </a:ext>
            </a:extLst>
          </p:cNvPr>
          <p:cNvSpPr txBox="1"/>
          <p:nvPr userDrawn="1"/>
        </p:nvSpPr>
        <p:spPr>
          <a:xfrm>
            <a:off x="613347" y="2014987"/>
            <a:ext cx="2628292" cy="1116124"/>
          </a:xfrm>
          <a:prstGeom prst="rect">
            <a:avLst/>
          </a:prstGeom>
          <a:solidFill>
            <a:schemeClr val="tx2"/>
          </a:solidFill>
        </p:spPr>
        <p:txBody>
          <a:bodyPr wrap="square" lIns="180000" rIns="180000" rtlCol="0">
            <a:noAutofit/>
          </a:bodyPr>
          <a:lstStyle/>
          <a:p>
            <a:pPr algn="ctr"/>
            <a:r>
              <a:rPr lang="fr-FR" sz="7200" b="1">
                <a:solidFill>
                  <a:schemeClr val="bg1"/>
                </a:solidFill>
                <a:latin typeface="+mn-lt"/>
              </a:rPr>
              <a:t>YOU</a:t>
            </a:r>
          </a:p>
        </p:txBody>
      </p:sp>
      <p:pic>
        <p:nvPicPr>
          <p:cNvPr id="9" name="Graphique 12">
            <a:extLst>
              <a:ext uri="{FF2B5EF4-FFF2-40B4-BE49-F238E27FC236}">
                <a16:creationId xmlns:a16="http://schemas.microsoft.com/office/drawing/2014/main" id="{179AD86B-4CB0-4369-A2E2-E512D4A8BC3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9187401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39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Image 13" descr="Une image contenant objet&#10;&#10;Description générée automatiquement">
            <a:extLst>
              <a:ext uri="{FF2B5EF4-FFF2-40B4-BE49-F238E27FC236}">
                <a16:creationId xmlns:a16="http://schemas.microsoft.com/office/drawing/2014/main" id="{99BF86A5-F0B8-42C9-A87E-16C8B6F680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F679F638-3664-4A3D-B3CC-1AE9AB09B32C}"/>
              </a:ext>
            </a:extLst>
          </p:cNvPr>
          <p:cNvSpPr/>
          <p:nvPr userDrawn="1"/>
        </p:nvSpPr>
        <p:spPr>
          <a:xfrm>
            <a:off x="613347" y="2022491"/>
            <a:ext cx="2628292" cy="1116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34" name="Groupe 33">
            <a:extLst>
              <a:ext uri="{FF2B5EF4-FFF2-40B4-BE49-F238E27FC236}">
                <a16:creationId xmlns:a16="http://schemas.microsoft.com/office/drawing/2014/main" id="{113FDBA7-5D27-421C-85B6-3FA82D4FF202}"/>
              </a:ext>
            </a:extLst>
          </p:cNvPr>
          <p:cNvGrpSpPr/>
          <p:nvPr userDrawn="1"/>
        </p:nvGrpSpPr>
        <p:grpSpPr>
          <a:xfrm>
            <a:off x="697167" y="1903445"/>
            <a:ext cx="2376783" cy="1354217"/>
            <a:chOff x="794460" y="1664804"/>
            <a:chExt cx="2376783" cy="1354217"/>
          </a:xfrm>
        </p:grpSpPr>
        <p:sp>
          <p:nvSpPr>
            <p:cNvPr id="36" name="TextBox 12">
              <a:extLst>
                <a:ext uri="{FF2B5EF4-FFF2-40B4-BE49-F238E27FC236}">
                  <a16:creationId xmlns:a16="http://schemas.microsoft.com/office/drawing/2014/main" id="{6DBE849B-11CF-4A64-8448-70B62EB6CF2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94460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>
                  <a:blipFill>
                    <a:blip r:embed="rId8"/>
                    <a:stretch>
                      <a:fillRect/>
                    </a:stretch>
                  </a:blipFill>
                </a:rPr>
                <a:t>Y</a:t>
              </a:r>
            </a:p>
          </p:txBody>
        </p:sp>
        <p:sp>
          <p:nvSpPr>
            <p:cNvPr id="37" name="TextBox 12">
              <a:extLst>
                <a:ext uri="{FF2B5EF4-FFF2-40B4-BE49-F238E27FC236}">
                  <a16:creationId xmlns:a16="http://schemas.microsoft.com/office/drawing/2014/main" id="{A243C84E-50CC-4C5F-B7D5-5A14645EA45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550687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>
                  <a:blipFill>
                    <a:blip r:embed="rId8"/>
                    <a:stretch>
                      <a:fillRect/>
                    </a:stretch>
                  </a:blipFill>
                </a:rPr>
                <a:t>O</a:t>
              </a:r>
            </a:p>
          </p:txBody>
        </p:sp>
        <p:sp>
          <p:nvSpPr>
            <p:cNvPr id="38" name="TextBox 12">
              <a:extLst>
                <a:ext uri="{FF2B5EF4-FFF2-40B4-BE49-F238E27FC236}">
                  <a16:creationId xmlns:a16="http://schemas.microsoft.com/office/drawing/2014/main" id="{4DE2360C-0138-43FB-88B6-A916D5FF6C0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356918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>
                  <a:blipFill>
                    <a:blip r:embed="rId8"/>
                    <a:stretch>
                      <a:fillRect/>
                    </a:stretch>
                  </a:blipFill>
                </a:rPr>
                <a:t>U</a:t>
              </a:r>
            </a:p>
          </p:txBody>
        </p:sp>
      </p:grpSp>
      <p:sp>
        <p:nvSpPr>
          <p:cNvPr id="40" name="ZoneTexte 39">
            <a:extLst>
              <a:ext uri="{FF2B5EF4-FFF2-40B4-BE49-F238E27FC236}">
                <a16:creationId xmlns:a16="http://schemas.microsoft.com/office/drawing/2014/main" id="{63612154-01AA-4A44-9626-0CEFBE31DD80}"/>
              </a:ext>
            </a:extLst>
          </p:cNvPr>
          <p:cNvSpPr txBox="1"/>
          <p:nvPr userDrawn="1"/>
        </p:nvSpPr>
        <p:spPr>
          <a:xfrm>
            <a:off x="515380" y="944724"/>
            <a:ext cx="341632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200" b="1">
                <a:solidFill>
                  <a:schemeClr val="bg1"/>
                </a:solidFill>
                <a:latin typeface="+mn-lt"/>
              </a:rPr>
              <a:t>THANK</a:t>
            </a:r>
          </a:p>
        </p:txBody>
      </p:sp>
      <p:pic>
        <p:nvPicPr>
          <p:cNvPr id="15" name="Graphique 12">
            <a:extLst>
              <a:ext uri="{FF2B5EF4-FFF2-40B4-BE49-F238E27FC236}">
                <a16:creationId xmlns:a16="http://schemas.microsoft.com/office/drawing/2014/main" id="{9A6E24CF-8D33-4CD9-8F42-13A4AED0D58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9843613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537257" y="465138"/>
            <a:ext cx="2800351" cy="2800351"/>
          </a:xfrm>
          <a:prstGeom prst="rect">
            <a:avLst/>
          </a:prstGeom>
          <a:solidFill>
            <a:schemeClr val="accent3">
              <a:alpha val="20000"/>
            </a:schemeClr>
          </a:solidFill>
        </p:spPr>
        <p:txBody>
          <a:bodyPr/>
          <a:lstStyle>
            <a:lvl1pPr>
              <a:defRPr lang="id-ID" sz="1000"/>
            </a:lvl1pPr>
          </a:lstStyle>
          <a:p>
            <a:pPr marL="0" lvl="0" indent="0">
              <a:buNone/>
            </a:pPr>
            <a:endParaRPr lang="id-ID"/>
          </a:p>
        </p:txBody>
      </p:sp>
      <p:sp>
        <p:nvSpPr>
          <p:cNvPr id="8" name="Picture Placeholder 6"/>
          <p:cNvSpPr>
            <a:spLocks noGrp="1"/>
          </p:cNvSpPr>
          <p:nvPr>
            <p:ph type="pic" sz="quarter" idx="11"/>
          </p:nvPr>
        </p:nvSpPr>
        <p:spPr>
          <a:xfrm>
            <a:off x="537257" y="3491367"/>
            <a:ext cx="2800351" cy="2800351"/>
          </a:xfrm>
          <a:prstGeom prst="rect">
            <a:avLst/>
          </a:prstGeom>
          <a:solidFill>
            <a:schemeClr val="accent3">
              <a:alpha val="20000"/>
            </a:schemeClr>
          </a:solidFill>
        </p:spPr>
        <p:txBody>
          <a:bodyPr/>
          <a:lstStyle>
            <a:lvl1pPr>
              <a:defRPr lang="id-ID" sz="1000"/>
            </a:lvl1pPr>
          </a:lstStyle>
          <a:p>
            <a:pPr marL="0" lvl="0" indent="0">
              <a:buNone/>
            </a:pPr>
            <a:endParaRPr lang="id-ID"/>
          </a:p>
        </p:txBody>
      </p:sp>
      <p:sp>
        <p:nvSpPr>
          <p:cNvPr id="9" name="Picture Placeholder 6"/>
          <p:cNvSpPr>
            <a:spLocks noGrp="1"/>
          </p:cNvSpPr>
          <p:nvPr>
            <p:ph type="pic" sz="quarter" idx="12"/>
          </p:nvPr>
        </p:nvSpPr>
        <p:spPr>
          <a:xfrm>
            <a:off x="3650571" y="465138"/>
            <a:ext cx="2800351" cy="2800351"/>
          </a:xfrm>
          <a:prstGeom prst="rect">
            <a:avLst/>
          </a:prstGeom>
          <a:solidFill>
            <a:schemeClr val="accent3">
              <a:alpha val="20000"/>
            </a:schemeClr>
          </a:solidFill>
        </p:spPr>
        <p:txBody>
          <a:bodyPr/>
          <a:lstStyle>
            <a:lvl1pPr>
              <a:defRPr lang="id-ID" sz="1000"/>
            </a:lvl1pPr>
          </a:lstStyle>
          <a:p>
            <a:pPr marL="0" lvl="0" indent="0">
              <a:buNone/>
            </a:pPr>
            <a:endParaRPr lang="id-ID"/>
          </a:p>
        </p:txBody>
      </p:sp>
      <p:sp>
        <p:nvSpPr>
          <p:cNvPr id="10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3650571" y="3491367"/>
            <a:ext cx="2800351" cy="2800351"/>
          </a:xfrm>
          <a:prstGeom prst="rect">
            <a:avLst/>
          </a:prstGeom>
          <a:solidFill>
            <a:schemeClr val="accent3">
              <a:alpha val="20000"/>
            </a:schemeClr>
          </a:solidFill>
        </p:spPr>
        <p:txBody>
          <a:bodyPr/>
          <a:lstStyle>
            <a:lvl1pPr>
              <a:defRPr lang="id-ID" sz="1000"/>
            </a:lvl1pPr>
          </a:lstStyle>
          <a:p>
            <a:pPr marL="0" lvl="0" indent="0">
              <a:buNone/>
            </a:pPr>
            <a:endParaRPr lang="id-ID"/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791EA78C-E4D1-3640-A451-3B6DC41237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786" y="6167180"/>
            <a:ext cx="445013" cy="365125"/>
          </a:xfrm>
          <a:prstGeom prst="rect">
            <a:avLst/>
          </a:prstGeom>
        </p:spPr>
        <p:txBody>
          <a:bodyPr anchor="ctr" anchorCtr="0"/>
          <a:lstStyle>
            <a:lvl1pPr algn="r">
              <a:defRPr sz="800">
                <a:solidFill>
                  <a:schemeClr val="bg1">
                    <a:lumMod val="40000"/>
                    <a:lumOff val="60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E3813BF9-5145-4417-B95D-FA862797388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4AD7FF7-D76D-C841-BE80-F4A496FAD101}"/>
              </a:ext>
            </a:extLst>
          </p:cNvPr>
          <p:cNvSpPr/>
          <p:nvPr userDrawn="1"/>
        </p:nvSpPr>
        <p:spPr>
          <a:xfrm>
            <a:off x="0" y="0"/>
            <a:ext cx="1378634" cy="177656"/>
          </a:xfrm>
          <a:prstGeom prst="rect">
            <a:avLst/>
          </a:prstGeom>
          <a:solidFill>
            <a:srgbClr val="6046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7246165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786ED3-D902-460F-A991-92A34477E5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90820"/>
            <a:ext cx="10515600" cy="424732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>
            <a:lvl1pPr>
              <a:defRPr lang="en-US" sz="2400">
                <a:solidFill>
                  <a:schemeClr val="tx2">
                    <a:lumMod val="85000"/>
                    <a:lumOff val="1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4" name="Slide Number Placeholder 4">
            <a:extLst>
              <a:ext uri="{FF2B5EF4-FFF2-40B4-BE49-F238E27FC236}">
                <a16:creationId xmlns:a16="http://schemas.microsoft.com/office/drawing/2014/main" id="{E1C5EAB0-801F-1842-B5DE-FAC2817780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786" y="6167180"/>
            <a:ext cx="445013" cy="365125"/>
          </a:xfrm>
          <a:prstGeom prst="rect">
            <a:avLst/>
          </a:prstGeom>
        </p:spPr>
        <p:txBody>
          <a:bodyPr anchor="ctr" anchorCtr="0"/>
          <a:lstStyle>
            <a:lvl1pPr algn="r">
              <a:defRPr sz="800">
                <a:solidFill>
                  <a:schemeClr val="bg1">
                    <a:lumMod val="40000"/>
                    <a:lumOff val="60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E3813BF9-5145-4417-B95D-FA862797388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3E5DDFE-E15D-7B4A-9CA2-7DD6A5265661}"/>
              </a:ext>
            </a:extLst>
          </p:cNvPr>
          <p:cNvSpPr/>
          <p:nvPr userDrawn="1"/>
        </p:nvSpPr>
        <p:spPr>
          <a:xfrm>
            <a:off x="0" y="0"/>
            <a:ext cx="1378634" cy="177656"/>
          </a:xfrm>
          <a:prstGeom prst="rect">
            <a:avLst/>
          </a:prstGeom>
          <a:solidFill>
            <a:srgbClr val="6046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216915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8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 of the chapter</a:t>
            </a:r>
          </a:p>
        </p:txBody>
      </p:sp>
      <p:pic>
        <p:nvPicPr>
          <p:cNvPr id="20" name="Graphique 8">
            <a:extLst>
              <a:ext uri="{FF2B5EF4-FFF2-40B4-BE49-F238E27FC236}">
                <a16:creationId xmlns:a16="http://schemas.microsoft.com/office/drawing/2014/main" id="{45E8C3F4-2490-401C-BFA7-37816AAE0F9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D1EEABA1-A797-42A3-88FC-A0BE2A9BB98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8E0CC66F-2823-4F24-845C-C4CBB5EDF45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</p:spTree>
    <p:extLst>
      <p:ext uri="{BB962C8B-B14F-4D97-AF65-F5344CB8AC3E}">
        <p14:creationId xmlns:p14="http://schemas.microsoft.com/office/powerpoint/2010/main" val="18196766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Custom Layou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4">
            <a:extLst>
              <a:ext uri="{FF2B5EF4-FFF2-40B4-BE49-F238E27FC236}">
                <a16:creationId xmlns:a16="http://schemas.microsoft.com/office/drawing/2014/main" id="{E1C5EAB0-801F-1842-B5DE-FAC2817780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786" y="6167180"/>
            <a:ext cx="445013" cy="365125"/>
          </a:xfrm>
          <a:prstGeom prst="rect">
            <a:avLst/>
          </a:prstGeom>
        </p:spPr>
        <p:txBody>
          <a:bodyPr anchor="ctr" anchorCtr="0"/>
          <a:lstStyle>
            <a:lvl1pPr algn="r">
              <a:defRPr sz="800">
                <a:solidFill>
                  <a:schemeClr val="bg1">
                    <a:lumMod val="40000"/>
                    <a:lumOff val="60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E3813BF9-5145-4417-B95D-FA862797388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3E5DDFE-E15D-7B4A-9CA2-7DD6A5265661}"/>
              </a:ext>
            </a:extLst>
          </p:cNvPr>
          <p:cNvSpPr/>
          <p:nvPr userDrawn="1"/>
        </p:nvSpPr>
        <p:spPr>
          <a:xfrm>
            <a:off x="0" y="0"/>
            <a:ext cx="1378634" cy="177656"/>
          </a:xfrm>
          <a:prstGeom prst="rect">
            <a:avLst/>
          </a:prstGeom>
          <a:solidFill>
            <a:srgbClr val="6046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8343166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lank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F54B25A6-C08A-B647-BAEE-36056353B6F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" y="1449977"/>
            <a:ext cx="3429000" cy="4722223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30000"/>
              </a:lnSpc>
              <a:defRPr b="0" i="0">
                <a:solidFill>
                  <a:schemeClr val="tx2"/>
                </a:solidFill>
                <a:latin typeface="Montserrat" pitchFamily="2" charset="77"/>
                <a:cs typeface="Arial" panose="020B0604020202020204" pitchFamily="34" charset="0"/>
              </a:defRPr>
            </a:lvl1pPr>
            <a:lvl2pPr>
              <a:lnSpc>
                <a:spcPct val="130000"/>
              </a:lnSpc>
              <a:defRPr b="0" i="0">
                <a:solidFill>
                  <a:schemeClr val="tx2"/>
                </a:solidFill>
                <a:latin typeface="Montserrat" pitchFamily="2" charset="77"/>
                <a:cs typeface="Arial" panose="020B0604020202020204" pitchFamily="34" charset="0"/>
              </a:defRPr>
            </a:lvl2pPr>
            <a:lvl3pPr>
              <a:lnSpc>
                <a:spcPct val="130000"/>
              </a:lnSpc>
              <a:defRPr b="0" i="0">
                <a:solidFill>
                  <a:schemeClr val="tx2"/>
                </a:solidFill>
                <a:latin typeface="Montserrat" pitchFamily="2" charset="77"/>
                <a:cs typeface="Arial" panose="020B0604020202020204" pitchFamily="34" charset="0"/>
              </a:defRPr>
            </a:lvl3pPr>
            <a:lvl4pPr>
              <a:lnSpc>
                <a:spcPct val="130000"/>
              </a:lnSpc>
              <a:defRPr b="0" i="0">
                <a:solidFill>
                  <a:schemeClr val="accent2"/>
                </a:solidFill>
                <a:latin typeface="Montserrat" pitchFamily="2" charset="77"/>
                <a:cs typeface="Arial" panose="020B0604020202020204" pitchFamily="34" charset="0"/>
              </a:defRPr>
            </a:lvl4pPr>
            <a:lvl5pPr>
              <a:lnSpc>
                <a:spcPct val="130000"/>
              </a:lnSpc>
              <a:defRPr b="0" i="0">
                <a:solidFill>
                  <a:schemeClr val="accent2"/>
                </a:solidFill>
                <a:latin typeface="Montserrat" pitchFamily="2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F8A30B69-E6BF-CC44-A324-C5FE2E27FF1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267200" y="1449976"/>
            <a:ext cx="3429000" cy="4722223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30000"/>
              </a:lnSpc>
              <a:defRPr b="0" i="0">
                <a:solidFill>
                  <a:schemeClr val="tx2"/>
                </a:solidFill>
                <a:latin typeface="Montserrat" pitchFamily="2" charset="77"/>
                <a:cs typeface="Arial" panose="020B0604020202020204" pitchFamily="34" charset="0"/>
              </a:defRPr>
            </a:lvl1pPr>
            <a:lvl2pPr>
              <a:lnSpc>
                <a:spcPct val="130000"/>
              </a:lnSpc>
              <a:defRPr b="0" i="0">
                <a:solidFill>
                  <a:schemeClr val="tx2"/>
                </a:solidFill>
                <a:latin typeface="Montserrat" pitchFamily="2" charset="77"/>
                <a:cs typeface="Arial" panose="020B0604020202020204" pitchFamily="34" charset="0"/>
              </a:defRPr>
            </a:lvl2pPr>
            <a:lvl3pPr>
              <a:lnSpc>
                <a:spcPct val="130000"/>
              </a:lnSpc>
              <a:defRPr b="0" i="0">
                <a:solidFill>
                  <a:schemeClr val="tx2"/>
                </a:solidFill>
                <a:latin typeface="Montserrat" pitchFamily="2" charset="77"/>
                <a:cs typeface="Arial" panose="020B0604020202020204" pitchFamily="34" charset="0"/>
              </a:defRPr>
            </a:lvl3pPr>
            <a:lvl4pPr>
              <a:lnSpc>
                <a:spcPct val="130000"/>
              </a:lnSpc>
              <a:defRPr b="0" i="0">
                <a:solidFill>
                  <a:schemeClr val="accent2"/>
                </a:solidFill>
                <a:latin typeface="Montserrat" pitchFamily="2" charset="77"/>
                <a:cs typeface="Arial" panose="020B0604020202020204" pitchFamily="34" charset="0"/>
              </a:defRPr>
            </a:lvl4pPr>
            <a:lvl5pPr>
              <a:lnSpc>
                <a:spcPct val="130000"/>
              </a:lnSpc>
              <a:defRPr b="0" i="0">
                <a:solidFill>
                  <a:schemeClr val="accent2"/>
                </a:solidFill>
                <a:latin typeface="Montserrat" pitchFamily="2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DB7F1DA-E7EE-D845-87FE-F048B172FA5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696200" y="0"/>
            <a:ext cx="4495800" cy="6858000"/>
          </a:xfrm>
          <a:custGeom>
            <a:avLst/>
            <a:gdLst>
              <a:gd name="connsiteX0" fmla="*/ 0 w 4495800"/>
              <a:gd name="connsiteY0" fmla="*/ 0 h 6858000"/>
              <a:gd name="connsiteX1" fmla="*/ 4495800 w 4495800"/>
              <a:gd name="connsiteY1" fmla="*/ 0 h 6858000"/>
              <a:gd name="connsiteX2" fmla="*/ 4495800 w 4495800"/>
              <a:gd name="connsiteY2" fmla="*/ 6858000 h 6858000"/>
              <a:gd name="connsiteX3" fmla="*/ 1354668 w 44958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95800" h="6858000">
                <a:moveTo>
                  <a:pt x="0" y="0"/>
                </a:moveTo>
                <a:lnTo>
                  <a:pt x="4495800" y="0"/>
                </a:lnTo>
                <a:lnTo>
                  <a:pt x="4495800" y="6858000"/>
                </a:lnTo>
                <a:lnTo>
                  <a:pt x="1354668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E6A4590E-4B09-884D-9CE7-7AC44BBB83B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600" y="685800"/>
            <a:ext cx="7086600" cy="764177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2800" b="1" i="0">
                <a:solidFill>
                  <a:schemeClr val="tx1"/>
                </a:solidFill>
                <a:latin typeface="Montserrat Black" pitchFamily="2" charset="77"/>
                <a:cs typeface="Arial Black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44129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186B540-ED6A-4042-BF78-F1505D6662A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685800"/>
            <a:ext cx="10972800" cy="764177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2800" b="1" i="0">
                <a:solidFill>
                  <a:schemeClr val="tx1"/>
                </a:solidFill>
                <a:latin typeface="Montserrat Black" pitchFamily="2" charset="77"/>
                <a:cs typeface="Arial Black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F54B25A6-C08A-B647-BAEE-36056353B6F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" y="1449977"/>
            <a:ext cx="10972800" cy="4722223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30000"/>
              </a:lnSpc>
              <a:defRPr b="0" i="0">
                <a:solidFill>
                  <a:schemeClr val="tx2"/>
                </a:solidFill>
                <a:latin typeface="Montserrat" pitchFamily="2" charset="77"/>
                <a:cs typeface="Arial" panose="020B0604020202020204" pitchFamily="34" charset="0"/>
              </a:defRPr>
            </a:lvl1pPr>
            <a:lvl2pPr>
              <a:lnSpc>
                <a:spcPct val="130000"/>
              </a:lnSpc>
              <a:defRPr b="0" i="0">
                <a:solidFill>
                  <a:schemeClr val="tx2"/>
                </a:solidFill>
                <a:latin typeface="Montserrat" pitchFamily="2" charset="77"/>
                <a:cs typeface="Arial" panose="020B0604020202020204" pitchFamily="34" charset="0"/>
              </a:defRPr>
            </a:lvl2pPr>
            <a:lvl3pPr>
              <a:lnSpc>
                <a:spcPct val="130000"/>
              </a:lnSpc>
              <a:defRPr b="0" i="0">
                <a:solidFill>
                  <a:schemeClr val="tx2"/>
                </a:solidFill>
                <a:latin typeface="Montserrat" pitchFamily="2" charset="77"/>
                <a:cs typeface="Arial" panose="020B0604020202020204" pitchFamily="34" charset="0"/>
              </a:defRPr>
            </a:lvl3pPr>
            <a:lvl4pPr>
              <a:lnSpc>
                <a:spcPct val="130000"/>
              </a:lnSpc>
              <a:defRPr b="0" i="0">
                <a:solidFill>
                  <a:schemeClr val="accent2"/>
                </a:solidFill>
                <a:latin typeface="Montserrat" pitchFamily="2" charset="77"/>
                <a:cs typeface="Arial" panose="020B0604020202020204" pitchFamily="34" charset="0"/>
              </a:defRPr>
            </a:lvl4pPr>
            <a:lvl5pPr>
              <a:lnSpc>
                <a:spcPct val="130000"/>
              </a:lnSpc>
              <a:defRPr b="0" i="0">
                <a:solidFill>
                  <a:schemeClr val="accent2"/>
                </a:solidFill>
                <a:latin typeface="Montserrat" pitchFamily="2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85874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 (Whit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F54B25A6-C08A-B647-BAEE-36056353B6F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600" y="1449977"/>
            <a:ext cx="5257800" cy="4722223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30000"/>
              </a:lnSpc>
              <a:defRPr b="0" i="0">
                <a:solidFill>
                  <a:schemeClr val="tx2"/>
                </a:solidFill>
                <a:latin typeface="Montserrat" pitchFamily="2" charset="77"/>
                <a:cs typeface="Arial" panose="020B0604020202020204" pitchFamily="34" charset="0"/>
              </a:defRPr>
            </a:lvl1pPr>
            <a:lvl2pPr>
              <a:lnSpc>
                <a:spcPct val="130000"/>
              </a:lnSpc>
              <a:defRPr b="0" i="0">
                <a:solidFill>
                  <a:schemeClr val="tx2"/>
                </a:solidFill>
                <a:latin typeface="Montserrat" pitchFamily="2" charset="77"/>
                <a:cs typeface="Arial" panose="020B0604020202020204" pitchFamily="34" charset="0"/>
              </a:defRPr>
            </a:lvl2pPr>
            <a:lvl3pPr>
              <a:lnSpc>
                <a:spcPct val="130000"/>
              </a:lnSpc>
              <a:defRPr b="0" i="0">
                <a:solidFill>
                  <a:schemeClr val="tx2"/>
                </a:solidFill>
                <a:latin typeface="Montserrat" pitchFamily="2" charset="77"/>
                <a:cs typeface="Arial" panose="020B0604020202020204" pitchFamily="34" charset="0"/>
              </a:defRPr>
            </a:lvl3pPr>
            <a:lvl4pPr>
              <a:lnSpc>
                <a:spcPct val="130000"/>
              </a:lnSpc>
              <a:defRPr b="0" i="0">
                <a:solidFill>
                  <a:schemeClr val="accent2"/>
                </a:solidFill>
                <a:latin typeface="Montserrat" pitchFamily="2" charset="77"/>
                <a:cs typeface="Arial" panose="020B0604020202020204" pitchFamily="34" charset="0"/>
              </a:defRPr>
            </a:lvl4pPr>
            <a:lvl5pPr>
              <a:lnSpc>
                <a:spcPct val="130000"/>
              </a:lnSpc>
              <a:defRPr b="0" i="0">
                <a:solidFill>
                  <a:schemeClr val="accent2"/>
                </a:solidFill>
                <a:latin typeface="Montserrat" pitchFamily="2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12">
            <a:extLst>
              <a:ext uri="{FF2B5EF4-FFF2-40B4-BE49-F238E27FC236}">
                <a16:creationId xmlns:a16="http://schemas.microsoft.com/office/drawing/2014/main" id="{2780C384-FBDE-5949-BF6D-106834E5D70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24602" y="1449977"/>
            <a:ext cx="5257800" cy="4722223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30000"/>
              </a:lnSpc>
              <a:defRPr b="0" i="0">
                <a:solidFill>
                  <a:schemeClr val="tx2"/>
                </a:solidFill>
                <a:latin typeface="Montserrat" pitchFamily="2" charset="77"/>
                <a:cs typeface="Arial" panose="020B0604020202020204" pitchFamily="34" charset="0"/>
              </a:defRPr>
            </a:lvl1pPr>
            <a:lvl2pPr>
              <a:lnSpc>
                <a:spcPct val="130000"/>
              </a:lnSpc>
              <a:defRPr b="0" i="0">
                <a:solidFill>
                  <a:schemeClr val="tx2"/>
                </a:solidFill>
                <a:latin typeface="Montserrat" pitchFamily="2" charset="77"/>
                <a:cs typeface="Arial" panose="020B0604020202020204" pitchFamily="34" charset="0"/>
              </a:defRPr>
            </a:lvl2pPr>
            <a:lvl3pPr>
              <a:lnSpc>
                <a:spcPct val="130000"/>
              </a:lnSpc>
              <a:defRPr b="0" i="0">
                <a:solidFill>
                  <a:schemeClr val="tx2"/>
                </a:solidFill>
                <a:latin typeface="Montserrat" pitchFamily="2" charset="77"/>
                <a:cs typeface="Arial" panose="020B0604020202020204" pitchFamily="34" charset="0"/>
              </a:defRPr>
            </a:lvl3pPr>
            <a:lvl4pPr>
              <a:lnSpc>
                <a:spcPct val="130000"/>
              </a:lnSpc>
              <a:defRPr b="0" i="0">
                <a:solidFill>
                  <a:schemeClr val="accent2"/>
                </a:solidFill>
                <a:latin typeface="Montserrat" pitchFamily="2" charset="77"/>
                <a:cs typeface="Arial" panose="020B0604020202020204" pitchFamily="34" charset="0"/>
              </a:defRPr>
            </a:lvl4pPr>
            <a:lvl5pPr>
              <a:lnSpc>
                <a:spcPct val="130000"/>
              </a:lnSpc>
              <a:defRPr b="0" i="0">
                <a:solidFill>
                  <a:schemeClr val="accent2"/>
                </a:solidFill>
                <a:latin typeface="Montserrat" pitchFamily="2" charset="77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D7EC3DD2-34CF-5B4E-AB78-2E320DABA2B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685800"/>
            <a:ext cx="10972800" cy="764177"/>
          </a:xfrm>
          <a:prstGeom prst="rect">
            <a:avLst/>
          </a:prstGeom>
        </p:spPr>
        <p:txBody>
          <a:bodyPr lIns="0" tIns="0" rIns="0" bIns="0"/>
          <a:lstStyle>
            <a:lvl1pPr>
              <a:lnSpc>
                <a:spcPct val="100000"/>
              </a:lnSpc>
              <a:defRPr sz="2800" b="1" i="0">
                <a:solidFill>
                  <a:schemeClr val="tx1"/>
                </a:solidFill>
                <a:latin typeface="Montserrat Black" pitchFamily="2" charset="77"/>
                <a:cs typeface="Arial Black" panose="020B0604020202020204" pitchFamily="34" charset="0"/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7303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USE THIS AS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2135" y="722494"/>
            <a:ext cx="11253466" cy="614592"/>
          </a:xfrm>
        </p:spPr>
        <p:txBody>
          <a:bodyPr/>
          <a:lstStyle>
            <a:lvl1pPr>
              <a:defRPr sz="3994" baseline="0"/>
            </a:lvl1pPr>
          </a:lstStyle>
          <a:p>
            <a:r>
              <a:rPr lang="en-US"/>
              <a:t>Click to add emphasis part of title</a:t>
            </a:r>
          </a:p>
        </p:txBody>
      </p:sp>
    </p:spTree>
    <p:extLst>
      <p:ext uri="{BB962C8B-B14F-4D97-AF65-F5344CB8AC3E}">
        <p14:creationId xmlns:p14="http://schemas.microsoft.com/office/powerpoint/2010/main" val="125483637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8188401-FAD0-4694-BF5A-3988D6682CDD}"/>
              </a:ext>
            </a:extLst>
          </p:cNvPr>
          <p:cNvSpPr/>
          <p:nvPr userDrawn="1"/>
        </p:nvSpPr>
        <p:spPr bwMode="auto">
          <a:xfrm>
            <a:off x="10172700" y="105508"/>
            <a:ext cx="1837592" cy="6418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320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Text Placeholder 7">
            <a:extLst>
              <a:ext uri="{FF2B5EF4-FFF2-40B4-BE49-F238E27FC236}">
                <a16:creationId xmlns:a16="http://schemas.microsoft.com/office/drawing/2014/main" id="{DBB01C75-5ADB-CC4B-9356-749F7DC700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12000" y="331098"/>
            <a:ext cx="11548695" cy="623059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3200" b="0" cap="none" baseline="0">
                <a:solidFill>
                  <a:schemeClr val="tx1">
                    <a:lumMod val="90000"/>
                    <a:lumOff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tag line or beginning of title</a:t>
            </a:r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44BE020-DEEA-4DA2-BA5D-2788B400D92F}"/>
              </a:ext>
            </a:extLst>
          </p:cNvPr>
          <p:cNvSpPr/>
          <p:nvPr userDrawn="1"/>
        </p:nvSpPr>
        <p:spPr bwMode="auto">
          <a:xfrm>
            <a:off x="9100038" y="6251331"/>
            <a:ext cx="2066193" cy="43961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123202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1025005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786ED3-D902-460F-A991-92A34477E5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57417" y="1267097"/>
            <a:ext cx="3600995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B24EE3F8-746C-4FCA-A593-268AB41F009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313508" y="1219201"/>
            <a:ext cx="6186119" cy="3918857"/>
          </a:xfrm>
          <a:prstGeom prst="rect">
            <a:avLst/>
          </a:prstGeom>
          <a:solidFill>
            <a:schemeClr val="accent1">
              <a:alpha val="2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C7668C18-561D-FF4F-BAD1-8021EAB9495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08787" y="6167180"/>
            <a:ext cx="445013" cy="365125"/>
          </a:xfrm>
          <a:prstGeom prst="rect">
            <a:avLst/>
          </a:prstGeom>
        </p:spPr>
        <p:txBody>
          <a:bodyPr anchor="ctr" anchorCtr="0"/>
          <a:lstStyle>
            <a:lvl1pPr algn="r">
              <a:defRPr sz="800">
                <a:solidFill>
                  <a:schemeClr val="bg1">
                    <a:lumMod val="40000"/>
                    <a:lumOff val="60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E3813BF9-5145-4417-B95D-FA862797388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7674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ark blue, 0 column">
    <p:bg>
      <p:bgPr>
        <a:gradFill>
          <a:gsLst>
            <a:gs pos="0">
              <a:schemeClr val="accent1"/>
            </a:gs>
            <a:gs pos="100000">
              <a:schemeClr val="accent6">
                <a:lumMod val="10000"/>
              </a:schemeClr>
            </a:gs>
          </a:gsLst>
          <a:lin ang="27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0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CC22739F-880B-4A8D-A44A-FA27E469BBD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5" y="1368596"/>
            <a:ext cx="11382427" cy="353943"/>
          </a:xfrm>
          <a:noFill/>
        </p:spPr>
        <p:txBody>
          <a:bodyPr wrap="squar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15" name="Espace réservé du numéro de diapositive 2">
            <a:extLst>
              <a:ext uri="{FF2B5EF4-FFF2-40B4-BE49-F238E27FC236}">
                <a16:creationId xmlns:a16="http://schemas.microsoft.com/office/drawing/2014/main" id="{3E5B363C-4834-4022-B3EF-4F0B2F86B4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536A3F82-5F59-45E4-A8C9-83EAACE14FE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DC39ED46-ACD4-4140-8AE3-6EA8A681D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49D6AF2-1B25-8241-B7EA-93BFBB35131E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19486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95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7584906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r>
              <a:rPr lang="en-GB"/>
              <a:t>Your text here</a:t>
            </a:r>
          </a:p>
          <a:p>
            <a:pPr lvl="1"/>
            <a:r>
              <a:rPr lang="en-GB"/>
              <a:t>Text level 1</a:t>
            </a:r>
          </a:p>
          <a:p>
            <a:pPr lvl="2"/>
            <a:r>
              <a:rPr lang="en-GB"/>
              <a:t>Text level 2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735C07-2264-401E-9223-98C1CA429B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3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72C4E26-BE79-4277-9CB6-37B3130818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426E006-4F5B-402C-916F-29E383EE086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E05915BF-F664-49DE-8489-CADDC55CA2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6061943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0FC6D31B-8418-47E2-BEC8-4C4D884AEE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7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0FC6D31B-8418-47E2-BEC8-4C4D884AE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BFC7BE2-5BD4-49F5-A3FC-FE37C1AC966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A7CC7BB1-2504-412F-9361-BB77A4C066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C8046952-CF6F-4606-B04F-66EE0742EF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 of the chapter</a:t>
            </a: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12566D07-C10F-4149-9D24-43409582809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1" name="Espace réservé du numéro de diapositive 2">
            <a:extLst>
              <a:ext uri="{FF2B5EF4-FFF2-40B4-BE49-F238E27FC236}">
                <a16:creationId xmlns:a16="http://schemas.microsoft.com/office/drawing/2014/main" id="{DA7B4581-DBF3-4675-85A2-573E4F1A22C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9E7FCC28-2779-438A-83C5-F5B120BFA1B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</p:spTree>
    <p:extLst>
      <p:ext uri="{BB962C8B-B14F-4D97-AF65-F5344CB8AC3E}">
        <p14:creationId xmlns:p14="http://schemas.microsoft.com/office/powerpoint/2010/main" val="24661560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56">
          <p15:clr>
            <a:srgbClr val="F26B43"/>
          </p15:clr>
        </p15:guide>
        <p15:guide id="2" orient="horz" pos="3906">
          <p15:clr>
            <a:srgbClr val="F26B43"/>
          </p15:clr>
        </p15:guide>
        <p15:guide id="3" pos="288">
          <p15:clr>
            <a:srgbClr val="F26B43"/>
          </p15:clr>
        </p15:guide>
        <p15:guide id="4" pos="360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7CED06AF-D77F-40B5-AC37-133B89CE0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1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7CED06AF-D77F-40B5-AC37-133B89CE0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8F1563-018F-44B3-B1BA-431C2F106E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425366"/>
            <a:ext cx="7551996" cy="923330"/>
          </a:xfrm>
        </p:spPr>
        <p:txBody>
          <a:bodyPr lIns="72000" anchor="b">
            <a:spAutoFit/>
          </a:bodyPr>
          <a:lstStyle>
            <a:lvl1pPr>
              <a:defRPr sz="6000" spc="-2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SUMMARY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137A81A-F5D3-4438-B99F-AC1EABFB66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4988" y="1649866"/>
            <a:ext cx="7546216" cy="661720"/>
          </a:xfrm>
        </p:spPr>
        <p:txBody>
          <a:bodyPr wrap="square" lIns="108000" rIns="180000">
            <a:spAutoFit/>
          </a:bodyPr>
          <a:lstStyle>
            <a:lvl1pPr marL="450850" indent="-450850">
              <a:lnSpc>
                <a:spcPct val="100000"/>
              </a:lnSpc>
              <a:spcBef>
                <a:spcPts val="1800"/>
              </a:spcBef>
              <a:buSzPct val="100000"/>
              <a:buFont typeface="+mj-lt"/>
              <a:buAutoNum type="arabicPeriod"/>
              <a:defRPr sz="1600">
                <a:solidFill>
                  <a:schemeClr val="bg1"/>
                </a:solidFill>
                <a:latin typeface="+mn-lt"/>
              </a:defRPr>
            </a:lvl1pPr>
            <a:lvl2pPr marL="447675" indent="-314325">
              <a:lnSpc>
                <a:spcPct val="100000"/>
              </a:lnSpc>
              <a:buFont typeface="Arial" panose="020B0604020202020204" pitchFamily="34" charset="0"/>
              <a:buChar char=" "/>
              <a:defRPr sz="1600">
                <a:solidFill>
                  <a:schemeClr val="bg1"/>
                </a:solidFill>
              </a:defRPr>
            </a:lvl2pPr>
            <a:lvl3pPr marL="542925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Your text here</a:t>
            </a:r>
          </a:p>
          <a:p>
            <a:pPr lvl="1"/>
            <a:r>
              <a:rPr lang="en-GB"/>
              <a:t>Text level 2</a:t>
            </a: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9A9743B7-8D0B-4F4B-900B-FE6932488C3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0DC99564-1E2A-412E-A628-7BCE8232D5E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2" name="Espace réservé du pied de page 4">
            <a:extLst>
              <a:ext uri="{FF2B5EF4-FFF2-40B4-BE49-F238E27FC236}">
                <a16:creationId xmlns:a16="http://schemas.microsoft.com/office/drawing/2014/main" id="{26F3B280-A751-4795-8CA3-6E2A172C029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</p:spTree>
    <p:extLst>
      <p:ext uri="{BB962C8B-B14F-4D97-AF65-F5344CB8AC3E}">
        <p14:creationId xmlns:p14="http://schemas.microsoft.com/office/powerpoint/2010/main" val="14441381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0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 of the chapter</a:t>
            </a:r>
          </a:p>
        </p:txBody>
      </p:sp>
      <p:pic>
        <p:nvPicPr>
          <p:cNvPr id="21" name="Graphique 8">
            <a:extLst>
              <a:ext uri="{FF2B5EF4-FFF2-40B4-BE49-F238E27FC236}">
                <a16:creationId xmlns:a16="http://schemas.microsoft.com/office/drawing/2014/main" id="{18AF53AA-F64F-40A2-BA18-E39CF0E6D61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99124B2E-7D5F-43EA-BA8E-51CF5BE916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F420F713-7CBA-4B47-8081-8B5D8C3FEF7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</p:spTree>
    <p:extLst>
      <p:ext uri="{BB962C8B-B14F-4D97-AF65-F5344CB8AC3E}">
        <p14:creationId xmlns:p14="http://schemas.microsoft.com/office/powerpoint/2010/main" val="22648138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9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811313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columns with colored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02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96180" y="278548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494645" y="278548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593109" y="278548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err="1"/>
              <a:t>Cliquez</a:t>
            </a:r>
            <a:r>
              <a:rPr lang="en-GB"/>
              <a:t> pour modifier les styles du </a:t>
            </a:r>
            <a:r>
              <a:rPr lang="en-GB" err="1"/>
              <a:t>texte</a:t>
            </a:r>
            <a:r>
              <a:rPr lang="en-GB"/>
              <a:t> du masque</a:t>
            </a:r>
          </a:p>
          <a:p>
            <a:pPr lvl="1"/>
            <a:r>
              <a:rPr lang="en-GB" err="1"/>
              <a:t>Deux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  <a:p>
            <a:pPr lvl="2"/>
            <a:r>
              <a:rPr lang="en-GB" err="1"/>
              <a:t>Troisième</a:t>
            </a:r>
            <a:r>
              <a:rPr lang="en-GB"/>
              <a:t> </a:t>
            </a:r>
            <a:r>
              <a:rPr lang="en-GB" err="1"/>
              <a:t>niveau</a:t>
            </a:r>
            <a:endParaRPr lang="en-GB"/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E3F45E-E84E-4C33-9A96-378F378EB3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3" name="Cadre 22">
            <a:extLst>
              <a:ext uri="{FF2B5EF4-FFF2-40B4-BE49-F238E27FC236}">
                <a16:creationId xmlns:a16="http://schemas.microsoft.com/office/drawing/2014/main" id="{A6E5563B-23BC-4408-B9D4-58AD99313E6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AED187A8-F999-40E8-90EB-093733CC60B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5775" y="1368596"/>
            <a:ext cx="2311063" cy="353943"/>
          </a:xfrm>
          <a:solidFill>
            <a:schemeClr val="tx2"/>
          </a:solidFill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47416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hapter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04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  <a:prstGeom prst="rect">
            <a:avLst/>
          </a:prstGeo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  <a:prstGeom prst="rect">
            <a:avLst/>
          </a:prstGeo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 of the chapter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D3C70FEB-0084-4E37-8AC4-3A50B2EA056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97928A40-4AA3-49EF-9556-BDB555D654B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F59241AE-0D4A-4924-9503-149B6B5F1252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Cadre 15">
            <a:extLst>
              <a:ext uri="{FF2B5EF4-FFF2-40B4-BE49-F238E27FC236}">
                <a16:creationId xmlns:a16="http://schemas.microsoft.com/office/drawing/2014/main" id="{6A89F2A7-85CF-443A-9A03-D2C9856F3D0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0723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resentation - Title, Sub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53520353"/>
      </p:ext>
    </p:extLst>
  </p:cSld>
  <p:clrMapOvr>
    <a:masterClrMapping/>
  </p:clrMapOvr>
  <p:transition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Title and Content"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Google Shape;38;p9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●"/>
              <a:defRPr sz="1467"/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t" anchorCtr="0">
            <a:noAutofit/>
          </a:bodyPr>
          <a:lstStyle>
            <a:lvl1pPr marL="609585" lvl="0" indent="-423323" algn="l" rtl="0">
              <a:lnSpc>
                <a:spcPct val="90000"/>
              </a:lnSpc>
              <a:spcBef>
                <a:spcPts val="1067"/>
              </a:spcBef>
              <a:spcAft>
                <a:spcPts val="0"/>
              </a:spcAft>
              <a:buClr>
                <a:schemeClr val="dk1"/>
              </a:buClr>
              <a:buSzPts val="1400"/>
              <a:buChar char="●"/>
              <a:defRPr sz="1467"/>
            </a:lvl1pPr>
            <a:lvl2pPr marL="1219170" lvl="1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○"/>
              <a:defRPr sz="1467"/>
            </a:lvl2pPr>
            <a:lvl3pPr marL="1828754" lvl="2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■"/>
              <a:defRPr sz="1467"/>
            </a:lvl3pPr>
            <a:lvl4pPr marL="2438339" lvl="3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●"/>
              <a:defRPr sz="1467"/>
            </a:lvl4pPr>
            <a:lvl5pPr marL="3047924" lvl="4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○"/>
              <a:defRPr sz="1467"/>
            </a:lvl5pPr>
            <a:lvl6pPr marL="3657509" lvl="5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■"/>
              <a:defRPr sz="1467"/>
            </a:lvl6pPr>
            <a:lvl7pPr marL="4267093" lvl="6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●"/>
              <a:defRPr sz="1467"/>
            </a:lvl7pPr>
            <a:lvl8pPr marL="4876678" lvl="7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○"/>
              <a:defRPr sz="1467"/>
            </a:lvl8pPr>
            <a:lvl9pPr marL="5486263" lvl="8" indent="-423323" algn="l" rtl="0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dk1"/>
              </a:buClr>
              <a:buSzPts val="1400"/>
              <a:buChar char="■"/>
              <a:defRPr sz="1467"/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9pPr>
          </a:lstStyle>
          <a:p>
            <a:endParaRPr/>
          </a:p>
        </p:txBody>
      </p:sp>
      <p:sp>
        <p:nvSpPr>
          <p:cNvPr id="41" name="Google Shape;41;p9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100"/>
              <a:buNone/>
              <a:defRPr sz="1467"/>
            </a:lvl9pPr>
          </a:lstStyle>
          <a:p>
            <a:endParaRPr/>
          </a:p>
        </p:txBody>
      </p:sp>
      <p:sp>
        <p:nvSpPr>
          <p:cNvPr id="42" name="Google Shape;42;p9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 sz="1467"/>
            </a:lvl1pPr>
            <a:lvl2pPr marL="0" lvl="1" indent="0" algn="r" rtl="0">
              <a:spcBef>
                <a:spcPts val="0"/>
              </a:spcBef>
              <a:buNone/>
              <a:defRPr sz="1467"/>
            </a:lvl2pPr>
            <a:lvl3pPr marL="0" lvl="2" indent="0" algn="r" rtl="0">
              <a:spcBef>
                <a:spcPts val="0"/>
              </a:spcBef>
              <a:buNone/>
              <a:defRPr sz="1467"/>
            </a:lvl3pPr>
            <a:lvl4pPr marL="0" lvl="3" indent="0" algn="r" rtl="0">
              <a:spcBef>
                <a:spcPts val="0"/>
              </a:spcBef>
              <a:buNone/>
              <a:defRPr sz="1467"/>
            </a:lvl4pPr>
            <a:lvl5pPr marL="0" lvl="4" indent="0" algn="r" rtl="0">
              <a:spcBef>
                <a:spcPts val="0"/>
              </a:spcBef>
              <a:buNone/>
              <a:defRPr sz="1467"/>
            </a:lvl5pPr>
            <a:lvl6pPr marL="0" lvl="5" indent="0" algn="r" rtl="0">
              <a:spcBef>
                <a:spcPts val="0"/>
              </a:spcBef>
              <a:buNone/>
              <a:defRPr sz="1467"/>
            </a:lvl6pPr>
            <a:lvl7pPr marL="0" lvl="6" indent="0" algn="r" rtl="0">
              <a:spcBef>
                <a:spcPts val="0"/>
              </a:spcBef>
              <a:buNone/>
              <a:defRPr sz="1467"/>
            </a:lvl7pPr>
            <a:lvl8pPr marL="0" lvl="7" indent="0" algn="r" rtl="0">
              <a:spcBef>
                <a:spcPts val="0"/>
              </a:spcBef>
              <a:buNone/>
              <a:defRPr sz="1467"/>
            </a:lvl8pPr>
            <a:lvl9pPr marL="0" lvl="8" indent="0" algn="r" rtl="0">
              <a:spcBef>
                <a:spcPts val="0"/>
              </a:spcBef>
              <a:buNone/>
              <a:defRPr sz="1467"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7678526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E03E893C-6741-453F-AB83-3BF7E4745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35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E03E893C-6741-453F-AB83-3BF7E4745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607D74-F512-4FC3-A30B-919D76C6342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79935D5E-B7ED-4F9D-A894-6B0811A25EEF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re 1">
            <a:extLst>
              <a:ext uri="{FF2B5EF4-FFF2-40B4-BE49-F238E27FC236}">
                <a16:creationId xmlns:a16="http://schemas.microsoft.com/office/drawing/2014/main" id="{0720AE2E-312C-4683-8989-D798355BADA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/>
              <a:t>TITLE OF THE SLIDE</a:t>
            </a:r>
          </a:p>
        </p:txBody>
      </p:sp>
      <p:sp>
        <p:nvSpPr>
          <p:cNvPr id="24" name="Sous-titre 2">
            <a:extLst>
              <a:ext uri="{FF2B5EF4-FFF2-40B4-BE49-F238E27FC236}">
                <a16:creationId xmlns:a16="http://schemas.microsoft.com/office/drawing/2014/main" id="{65680EBE-7995-4156-B622-28E72E2062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24732"/>
          </a:xfr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btitle of the presentation</a:t>
            </a:r>
          </a:p>
        </p:txBody>
      </p:sp>
      <p:pic>
        <p:nvPicPr>
          <p:cNvPr id="33" name="Image 32" descr="Une image contenant objet&#10;&#10;Description générée automatiquement">
            <a:extLst>
              <a:ext uri="{FF2B5EF4-FFF2-40B4-BE49-F238E27FC236}">
                <a16:creationId xmlns:a16="http://schemas.microsoft.com/office/drawing/2014/main" id="{EDBF095C-490F-455B-8877-BE70651A91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id="{40509EFD-4C7C-4D04-B91B-72E1A430F0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361105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E6E47F53-A22F-4C3B-A907-D28F75530F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2578642" cy="369332"/>
          </a:xfr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 of the speaker</a:t>
            </a:r>
          </a:p>
        </p:txBody>
      </p:sp>
      <p:pic>
        <p:nvPicPr>
          <p:cNvPr id="14" name="Graphique 12">
            <a:extLst>
              <a:ext uri="{FF2B5EF4-FFF2-40B4-BE49-F238E27FC236}">
                <a16:creationId xmlns:a16="http://schemas.microsoft.com/office/drawing/2014/main" id="{EDC392AE-DD2C-4A4A-B7EE-4301D02F161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91752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26B43"/>
          </p15:clr>
        </p15:guide>
        <p15:guide id="2" orient="horz" pos="1886">
          <p15:clr>
            <a:srgbClr val="F26B43"/>
          </p15:clr>
        </p15:guide>
        <p15:guide id="4" orient="horz" pos="3317">
          <p15:clr>
            <a:srgbClr val="F26B43"/>
          </p15:clr>
        </p15:guide>
        <p15:guide id="5" orient="horz" pos="3917">
          <p15:clr>
            <a:srgbClr val="F26B43"/>
          </p15:clr>
        </p15:guide>
        <p15:guide id="6" pos="288">
          <p15:clr>
            <a:srgbClr val="F26B43"/>
          </p15:clr>
        </p15:guide>
        <p15:guide id="7" pos="357">
          <p15:clr>
            <a:srgbClr val="A4A3A4"/>
          </p15:clr>
        </p15:guide>
      </p15:sldGuideLst>
    </p:ext>
  </p:extLs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37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7584906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r>
              <a:rPr lang="en-GB"/>
              <a:t>Your text here</a:t>
            </a:r>
          </a:p>
          <a:p>
            <a:pPr lvl="1"/>
            <a:r>
              <a:rPr lang="en-GB"/>
              <a:t>Text level 1</a:t>
            </a:r>
          </a:p>
          <a:p>
            <a:pPr lvl="2"/>
            <a:r>
              <a:rPr lang="en-GB"/>
              <a:t>Text level 2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735C07-2264-401E-9223-98C1CA429B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3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72C4E26-BE79-4277-9CB6-37B3130818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426E006-4F5B-402C-916F-29E383EE086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E05915BF-F664-49DE-8489-CADDC55CA2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535042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2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075C7A91-CC93-4B69-84A3-D6E6299E1C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9551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075C7A91-CC93-4B69-84A3-D6E6299E1C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55627D-8E54-4A37-802B-8C427B3EB1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3" name="Forme libre : forme 22">
            <a:extLst>
              <a:ext uri="{FF2B5EF4-FFF2-40B4-BE49-F238E27FC236}">
                <a16:creationId xmlns:a16="http://schemas.microsoft.com/office/drawing/2014/main" id="{66AEBE2B-012F-42BB-A823-995DB0D71DD2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1" name="Forme libre : forme 20">
            <a:extLst>
              <a:ext uri="{FF2B5EF4-FFF2-40B4-BE49-F238E27FC236}">
                <a16:creationId xmlns:a16="http://schemas.microsoft.com/office/drawing/2014/main" id="{534AE452-7F08-4FA5-B95D-44688A32E41E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E9CCE011-2916-434D-A5D2-7A96A56EDF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24732"/>
          </a:xfr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btitle of the presentation</a:t>
            </a:r>
          </a:p>
        </p:txBody>
      </p:sp>
      <p:sp>
        <p:nvSpPr>
          <p:cNvPr id="19" name="Espace réservé de la date 3">
            <a:extLst>
              <a:ext uri="{FF2B5EF4-FFF2-40B4-BE49-F238E27FC236}">
                <a16:creationId xmlns:a16="http://schemas.microsoft.com/office/drawing/2014/main" id="{11CD5301-9586-45EF-BD7D-6FD0A6A5B0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361105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4" name="Titre 1">
            <a:extLst>
              <a:ext uri="{FF2B5EF4-FFF2-40B4-BE49-F238E27FC236}">
                <a16:creationId xmlns:a16="http://schemas.microsoft.com/office/drawing/2014/main" id="{282677E1-E7D7-461C-9F6D-B1708372F5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/>
              <a:t>TITLE OF THE SLIDE</a:t>
            </a:r>
          </a:p>
        </p:txBody>
      </p:sp>
      <p:sp>
        <p:nvSpPr>
          <p:cNvPr id="26" name="Espace réservé du texte 8">
            <a:extLst>
              <a:ext uri="{FF2B5EF4-FFF2-40B4-BE49-F238E27FC236}">
                <a16:creationId xmlns:a16="http://schemas.microsoft.com/office/drawing/2014/main" id="{0BD763C4-0BC2-41C5-BDBA-5850D945CF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2578642" cy="369332"/>
          </a:xfr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 of the speaker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55C72328-61FF-4531-AF88-298161BE3728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Image 15" descr="Une image contenant objet&#10;&#10;Description générée automatiquement">
            <a:extLst>
              <a:ext uri="{FF2B5EF4-FFF2-40B4-BE49-F238E27FC236}">
                <a16:creationId xmlns:a16="http://schemas.microsoft.com/office/drawing/2014/main" id="{5919B4CD-5E7E-4686-8385-C8E06F74C4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pic>
        <p:nvPicPr>
          <p:cNvPr id="14" name="Graphique 12">
            <a:extLst>
              <a:ext uri="{FF2B5EF4-FFF2-40B4-BE49-F238E27FC236}">
                <a16:creationId xmlns:a16="http://schemas.microsoft.com/office/drawing/2014/main" id="{33FF114A-8E2E-4078-8447-E6672F2878CC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11119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29">
          <p15:clr>
            <a:srgbClr val="F26B43"/>
          </p15:clr>
        </p15:guide>
        <p15:guide id="4" orient="horz" pos="1888">
          <p15:clr>
            <a:srgbClr val="F26B43"/>
          </p15:clr>
        </p15:guide>
        <p15:guide id="5" orient="horz" pos="3317">
          <p15:clr>
            <a:srgbClr val="F26B43"/>
          </p15:clr>
        </p15:guide>
        <p15:guide id="6" orient="horz" pos="3929">
          <p15:clr>
            <a:srgbClr val="F26B43"/>
          </p15:clr>
        </p15:guide>
      </p15:sldGuideLst>
    </p:ext>
  </p:extLs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_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093B85A7-0125-2847-BF60-B78467EE3F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075C7A91-CC93-4B69-84A3-D6E6299E1C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423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075C7A91-CC93-4B69-84A3-D6E6299E1C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455627D-8E54-4A37-802B-8C427B3EB1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3" name="Forme libre : forme 22">
            <a:extLst>
              <a:ext uri="{FF2B5EF4-FFF2-40B4-BE49-F238E27FC236}">
                <a16:creationId xmlns:a16="http://schemas.microsoft.com/office/drawing/2014/main" id="{66AEBE2B-012F-42BB-A823-995DB0D71DD2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1" name="Forme libre : forme 20">
            <a:extLst>
              <a:ext uri="{FF2B5EF4-FFF2-40B4-BE49-F238E27FC236}">
                <a16:creationId xmlns:a16="http://schemas.microsoft.com/office/drawing/2014/main" id="{534AE452-7F08-4FA5-B95D-44688A32E41E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3" name="Sous-titre 2">
            <a:extLst>
              <a:ext uri="{FF2B5EF4-FFF2-40B4-BE49-F238E27FC236}">
                <a16:creationId xmlns:a16="http://schemas.microsoft.com/office/drawing/2014/main" id="{E9CCE011-2916-434D-A5D2-7A96A56EDF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24732"/>
          </a:xfr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btitle of the presentation</a:t>
            </a:r>
          </a:p>
        </p:txBody>
      </p:sp>
      <p:sp>
        <p:nvSpPr>
          <p:cNvPr id="19" name="Espace réservé de la date 3">
            <a:extLst>
              <a:ext uri="{FF2B5EF4-FFF2-40B4-BE49-F238E27FC236}">
                <a16:creationId xmlns:a16="http://schemas.microsoft.com/office/drawing/2014/main" id="{11CD5301-9586-45EF-BD7D-6FD0A6A5B0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361105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4" name="Titre 1">
            <a:extLst>
              <a:ext uri="{FF2B5EF4-FFF2-40B4-BE49-F238E27FC236}">
                <a16:creationId xmlns:a16="http://schemas.microsoft.com/office/drawing/2014/main" id="{282677E1-E7D7-461C-9F6D-B1708372F57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/>
              <a:t>TITLE OF THE SLIDE</a:t>
            </a:r>
          </a:p>
        </p:txBody>
      </p:sp>
      <p:sp>
        <p:nvSpPr>
          <p:cNvPr id="26" name="Espace réservé du texte 8">
            <a:extLst>
              <a:ext uri="{FF2B5EF4-FFF2-40B4-BE49-F238E27FC236}">
                <a16:creationId xmlns:a16="http://schemas.microsoft.com/office/drawing/2014/main" id="{0BD763C4-0BC2-41C5-BDBA-5850D945CFF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2578642" cy="369332"/>
          </a:xfr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 of the speaker</a:t>
            </a:r>
          </a:p>
        </p:txBody>
      </p:sp>
      <p:pic>
        <p:nvPicPr>
          <p:cNvPr id="16" name="Image 15" descr="Une image contenant objet&#10;&#10;Description générée automatiquement">
            <a:extLst>
              <a:ext uri="{FF2B5EF4-FFF2-40B4-BE49-F238E27FC236}">
                <a16:creationId xmlns:a16="http://schemas.microsoft.com/office/drawing/2014/main" id="{5919B4CD-5E7E-4686-8385-C8E06F74C4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pic>
        <p:nvPicPr>
          <p:cNvPr id="14" name="Graphique 12">
            <a:extLst>
              <a:ext uri="{FF2B5EF4-FFF2-40B4-BE49-F238E27FC236}">
                <a16:creationId xmlns:a16="http://schemas.microsoft.com/office/drawing/2014/main" id="{33FF114A-8E2E-4078-8447-E6672F2878CC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1391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29">
          <p15:clr>
            <a:srgbClr val="F26B43"/>
          </p15:clr>
        </p15:guide>
        <p15:guide id="4" orient="horz" pos="1888">
          <p15:clr>
            <a:srgbClr val="F26B43"/>
          </p15:clr>
        </p15:guide>
        <p15:guide id="5" orient="horz" pos="3317">
          <p15:clr>
            <a:srgbClr val="F26B43"/>
          </p15:clr>
        </p15:guide>
        <p15:guide id="6" orient="horz" pos="3929">
          <p15:clr>
            <a:srgbClr val="F26B43"/>
          </p15:clr>
        </p15:guide>
      </p15:sldGuideLst>
    </p:ext>
  </p:extLs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mmar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7CED06AF-D77F-40B5-AC37-133B89CE0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447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7CED06AF-D77F-40B5-AC37-133B89CE0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68F1563-018F-44B3-B1BA-431C2F106E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425366"/>
            <a:ext cx="7551996" cy="923330"/>
          </a:xfrm>
        </p:spPr>
        <p:txBody>
          <a:bodyPr lIns="72000" anchor="b">
            <a:spAutoFit/>
          </a:bodyPr>
          <a:lstStyle>
            <a:lvl1pPr>
              <a:defRPr sz="6000" spc="-200" baseline="0">
                <a:solidFill>
                  <a:schemeClr val="bg1"/>
                </a:solidFill>
              </a:defRPr>
            </a:lvl1pPr>
          </a:lstStyle>
          <a:p>
            <a:r>
              <a:rPr lang="en-GB"/>
              <a:t>SUMMARY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A137A81A-F5D3-4438-B99F-AC1EABFB663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4988" y="1649866"/>
            <a:ext cx="7546216" cy="661720"/>
          </a:xfrm>
        </p:spPr>
        <p:txBody>
          <a:bodyPr wrap="square" lIns="108000" rIns="180000">
            <a:spAutoFit/>
          </a:bodyPr>
          <a:lstStyle>
            <a:lvl1pPr marL="450850" indent="-450850">
              <a:lnSpc>
                <a:spcPct val="100000"/>
              </a:lnSpc>
              <a:spcBef>
                <a:spcPts val="1800"/>
              </a:spcBef>
              <a:buSzPct val="100000"/>
              <a:buFont typeface="+mj-lt"/>
              <a:buAutoNum type="arabicPeriod"/>
              <a:defRPr sz="1600">
                <a:solidFill>
                  <a:schemeClr val="bg1"/>
                </a:solidFill>
                <a:latin typeface="+mn-lt"/>
              </a:defRPr>
            </a:lvl1pPr>
            <a:lvl2pPr marL="447675" indent="-314325">
              <a:lnSpc>
                <a:spcPct val="100000"/>
              </a:lnSpc>
              <a:buFont typeface="Arial" panose="020B0604020202020204" pitchFamily="34" charset="0"/>
              <a:buChar char=" "/>
              <a:defRPr sz="1600">
                <a:solidFill>
                  <a:schemeClr val="bg1"/>
                </a:solidFill>
              </a:defRPr>
            </a:lvl2pPr>
            <a:lvl3pPr marL="542925" indent="0">
              <a:buNone/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Your text here</a:t>
            </a:r>
          </a:p>
          <a:p>
            <a:pPr lvl="1"/>
            <a:r>
              <a:rPr lang="en-GB"/>
              <a:t>Text level 2</a:t>
            </a: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9A9743B7-8D0B-4F4B-900B-FE6932488C3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0DC99564-1E2A-412E-A628-7BCE8232D5E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2" name="Espace réservé du pied de page 4">
            <a:extLst>
              <a:ext uri="{FF2B5EF4-FFF2-40B4-BE49-F238E27FC236}">
                <a16:creationId xmlns:a16="http://schemas.microsoft.com/office/drawing/2014/main" id="{26F3B280-A751-4795-8CA3-6E2A172C029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</p:spTree>
    <p:extLst>
      <p:ext uri="{BB962C8B-B14F-4D97-AF65-F5344CB8AC3E}">
        <p14:creationId xmlns:p14="http://schemas.microsoft.com/office/powerpoint/2010/main" val="6409207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3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4A8A9AC5-0E79-4DE0-B2FD-4BEFE45E6D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8590349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47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 of the chapter</a:t>
            </a:r>
          </a:p>
        </p:txBody>
      </p:sp>
      <p:pic>
        <p:nvPicPr>
          <p:cNvPr id="16" name="Graphique 8">
            <a:extLst>
              <a:ext uri="{FF2B5EF4-FFF2-40B4-BE49-F238E27FC236}">
                <a16:creationId xmlns:a16="http://schemas.microsoft.com/office/drawing/2014/main" id="{E4759D16-3C68-46E4-914B-85AEC88CBD3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3DEA2039-7C0C-4137-BC63-7489537E8A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6F0D60AE-1577-4008-9F3D-2335AB963E1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</p:spTree>
    <p:extLst>
      <p:ext uri="{BB962C8B-B14F-4D97-AF65-F5344CB8AC3E}">
        <p14:creationId xmlns:p14="http://schemas.microsoft.com/office/powerpoint/2010/main" val="1805721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56B4929C-8011-4179-8CDE-3FB8CD2012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49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56B4929C-8011-4179-8CDE-3FB8CD2012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70C4FA2-C5EC-49E1-8C35-04867997158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5825EF1-A063-4BA8-A114-9FEFB36C88B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9207" y="2816932"/>
            <a:ext cx="7551996" cy="461665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 of the chapter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</p:spPr>
        <p:txBody>
          <a:bodyPr wrap="none">
            <a:spAutoFit/>
          </a:bodyPr>
          <a:lstStyle>
            <a:lvl1pPr marL="0" indent="0">
              <a:buNone/>
              <a:defRPr sz="28700" b="1">
                <a:blipFill>
                  <a:blip r:embed="rId7"/>
                  <a:stretch>
                    <a:fillRect/>
                  </a:stretch>
                </a:blip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6C15C0FE-1109-48F3-B89A-6248AC1CCB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CC92D6CF-FE8C-42F7-BBBC-FC11531533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15008756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3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0FC6D31B-8418-47E2-BEC8-4C4D884AEE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3647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0FC6D31B-8418-47E2-BEC8-4C4D884AE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BFC7BE2-5BD4-49F5-A3FC-FE37C1AC966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A7CC7BB1-2504-412F-9361-BB77A4C066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C8046952-CF6F-4606-B04F-66EE0742EF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 of the chapter</a:t>
            </a: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12566D07-C10F-4149-9D24-43409582809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1" name="Espace réservé du numéro de diapositive 2">
            <a:extLst>
              <a:ext uri="{FF2B5EF4-FFF2-40B4-BE49-F238E27FC236}">
                <a16:creationId xmlns:a16="http://schemas.microsoft.com/office/drawing/2014/main" id="{DA7B4581-DBF3-4675-85A2-573E4F1A22C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9E7FCC28-2779-438A-83C5-F5B120BFA1B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</p:spTree>
    <p:extLst>
      <p:ext uri="{BB962C8B-B14F-4D97-AF65-F5344CB8AC3E}">
        <p14:creationId xmlns:p14="http://schemas.microsoft.com/office/powerpoint/2010/main" val="9247497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56">
          <p15:clr>
            <a:srgbClr val="F26B43"/>
          </p15:clr>
        </p15:guide>
        <p15:guide id="2" orient="horz" pos="3906">
          <p15:clr>
            <a:srgbClr val="F26B43"/>
          </p15:clr>
        </p15:guide>
        <p15:guide id="3" pos="288">
          <p15:clr>
            <a:srgbClr val="F26B43"/>
          </p15:clr>
        </p15:guide>
        <p15:guide id="4" pos="360">
          <p15:clr>
            <a:srgbClr val="A4A3A4"/>
          </p15:clr>
        </p15:guide>
      </p15:sldGuideLst>
    </p:ext>
  </p:extLs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sual in b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809EBE8-0C7E-4ABF-B776-8E09915DB959}"/>
              </a:ext>
            </a:extLst>
          </p:cNvPr>
          <p:cNvSpPr/>
          <p:nvPr userDrawn="1"/>
        </p:nvSpPr>
        <p:spPr>
          <a:xfrm>
            <a:off x="1931" y="2101"/>
            <a:ext cx="10097918" cy="6852677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0000"/>
                </a:schemeClr>
              </a:gs>
              <a:gs pos="50000">
                <a:srgbClr val="000000">
                  <a:alpha val="0"/>
                </a:srgb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63F05E0D-3D04-4017-9808-762862E50409}"/>
              </a:ext>
            </a:extLst>
          </p:cNvPr>
          <p:cNvSpPr/>
          <p:nvPr userDrawn="1"/>
        </p:nvSpPr>
        <p:spPr>
          <a:xfrm rot="18932423">
            <a:off x="-954765" y="1427043"/>
            <a:ext cx="5372804" cy="530454"/>
          </a:xfrm>
          <a:custGeom>
            <a:avLst/>
            <a:gdLst>
              <a:gd name="connsiteX0" fmla="*/ 4832249 w 5372804"/>
              <a:gd name="connsiteY0" fmla="*/ 0 h 530454"/>
              <a:gd name="connsiteX1" fmla="*/ 5372804 w 5372804"/>
              <a:gd name="connsiteY1" fmla="*/ 530454 h 530454"/>
              <a:gd name="connsiteX2" fmla="*/ 0 w 5372804"/>
              <a:gd name="connsiteY2" fmla="*/ 530454 h 530454"/>
              <a:gd name="connsiteX3" fmla="*/ 520541 w 537280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72804" h="530454">
                <a:moveTo>
                  <a:pt x="4832249" y="0"/>
                </a:moveTo>
                <a:lnTo>
                  <a:pt x="537280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FD65DF1D-0D1A-471B-8283-644A0E829D66}"/>
              </a:ext>
            </a:extLst>
          </p:cNvPr>
          <p:cNvSpPr/>
          <p:nvPr userDrawn="1"/>
        </p:nvSpPr>
        <p:spPr>
          <a:xfrm rot="18932423">
            <a:off x="-735098" y="889565"/>
            <a:ext cx="3838044" cy="530454"/>
          </a:xfrm>
          <a:custGeom>
            <a:avLst/>
            <a:gdLst>
              <a:gd name="connsiteX0" fmla="*/ 3297489 w 3838044"/>
              <a:gd name="connsiteY0" fmla="*/ 0 h 530454"/>
              <a:gd name="connsiteX1" fmla="*/ 3838044 w 3838044"/>
              <a:gd name="connsiteY1" fmla="*/ 530454 h 530454"/>
              <a:gd name="connsiteX2" fmla="*/ 0 w 3838044"/>
              <a:gd name="connsiteY2" fmla="*/ 530454 h 530454"/>
              <a:gd name="connsiteX3" fmla="*/ 520541 w 3838044"/>
              <a:gd name="connsiteY3" fmla="*/ 0 h 530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38044" h="530454">
                <a:moveTo>
                  <a:pt x="3297489" y="0"/>
                </a:moveTo>
                <a:lnTo>
                  <a:pt x="3838044" y="530454"/>
                </a:lnTo>
                <a:lnTo>
                  <a:pt x="0" y="530454"/>
                </a:lnTo>
                <a:lnTo>
                  <a:pt x="520541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55CF31FB-0777-4002-8B91-D7D76860398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2" name="Espace réservé du numéro de diapositive 2">
            <a:extLst>
              <a:ext uri="{FF2B5EF4-FFF2-40B4-BE49-F238E27FC236}">
                <a16:creationId xmlns:a16="http://schemas.microsoft.com/office/drawing/2014/main" id="{5E6B0BDD-2859-4F0A-A7E1-A44BEFADC16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F5A26E8D-D486-4A59-828C-BE9E51CDB5D2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6838E746-8C0D-4144-AC8E-FA9CF117C2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/TEXT OF THE SLIDE</a:t>
            </a:r>
          </a:p>
        </p:txBody>
      </p:sp>
    </p:spTree>
    <p:extLst>
      <p:ext uri="{BB962C8B-B14F-4D97-AF65-F5344CB8AC3E}">
        <p14:creationId xmlns:p14="http://schemas.microsoft.com/office/powerpoint/2010/main" val="5178779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306">
          <p15:clr>
            <a:srgbClr val="A4A3A4"/>
          </p15:clr>
        </p15:guide>
      </p15:sldGuideLst>
    </p:ext>
  </p:extLs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956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 of the chapter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44FFDEA7-E33B-4F69-A94F-C24D4C06C36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55EF3A58-D397-4CE4-A40D-2D27231A07F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87E7F813-4752-4D6D-9FC9-975E797C55B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</p:spTree>
    <p:extLst>
      <p:ext uri="{BB962C8B-B14F-4D97-AF65-F5344CB8AC3E}">
        <p14:creationId xmlns:p14="http://schemas.microsoft.com/office/powerpoint/2010/main" val="13260096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59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 of the chapter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D3C70FEB-0084-4E37-8AC4-3A50B2EA056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97928A40-4AA3-49EF-9556-BDB555D654B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F59241AE-0D4A-4924-9503-149B6B5F1252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</p:spTree>
    <p:extLst>
      <p:ext uri="{BB962C8B-B14F-4D97-AF65-F5344CB8AC3E}">
        <p14:creationId xmlns:p14="http://schemas.microsoft.com/office/powerpoint/2010/main" val="35595273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61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 of the chapter</a:t>
            </a:r>
          </a:p>
        </p:txBody>
      </p:sp>
      <p:pic>
        <p:nvPicPr>
          <p:cNvPr id="20" name="Graphique 8">
            <a:extLst>
              <a:ext uri="{FF2B5EF4-FFF2-40B4-BE49-F238E27FC236}">
                <a16:creationId xmlns:a16="http://schemas.microsoft.com/office/drawing/2014/main" id="{45E8C3F4-2490-401C-BFA7-37816AAE0F9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D1EEABA1-A797-42A3-88FC-A0BE2A9BB98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2" name="Espace réservé du pied de page 4">
            <a:extLst>
              <a:ext uri="{FF2B5EF4-FFF2-40B4-BE49-F238E27FC236}">
                <a16:creationId xmlns:a16="http://schemas.microsoft.com/office/drawing/2014/main" id="{8E0CC66F-2823-4F24-845C-C4CBB5EDF45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</p:spTree>
    <p:extLst>
      <p:ext uri="{BB962C8B-B14F-4D97-AF65-F5344CB8AC3E}">
        <p14:creationId xmlns:p14="http://schemas.microsoft.com/office/powerpoint/2010/main" val="42123323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60ABFA1E-B316-436E-9376-68EB419FC1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263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60ABFA1E-B316-436E-9376-68EB419FC1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90B98A0-6801-4768-B6F7-29BDCE8AEFA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Forme libre : forme 12">
            <a:extLst>
              <a:ext uri="{FF2B5EF4-FFF2-40B4-BE49-F238E27FC236}">
                <a16:creationId xmlns:a16="http://schemas.microsoft.com/office/drawing/2014/main" id="{F64F9793-BC9C-4454-9F7F-5BB60A70AEED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4" name="Forme libre : forme 13">
            <a:extLst>
              <a:ext uri="{FF2B5EF4-FFF2-40B4-BE49-F238E27FC236}">
                <a16:creationId xmlns:a16="http://schemas.microsoft.com/office/drawing/2014/main" id="{D42A29F8-8B81-4FB1-8852-D3129D82F2F7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1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6C4BB860-E9E5-4315-9166-BE3A6F99D5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9D0DDBF5-15A9-48AF-8154-A223158BFEC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 of the chapter</a:t>
            </a:r>
          </a:p>
        </p:txBody>
      </p:sp>
      <p:pic>
        <p:nvPicPr>
          <p:cNvPr id="21" name="Graphique 8">
            <a:extLst>
              <a:ext uri="{FF2B5EF4-FFF2-40B4-BE49-F238E27FC236}">
                <a16:creationId xmlns:a16="http://schemas.microsoft.com/office/drawing/2014/main" id="{18AF53AA-F64F-40A2-BA18-E39CF0E6D61F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99124B2E-7D5F-43EA-BA8E-51CF5BE916BE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F420F713-7CBA-4B47-8081-8B5D8C3FEF7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</p:spTree>
    <p:extLst>
      <p:ext uri="{BB962C8B-B14F-4D97-AF65-F5344CB8AC3E}">
        <p14:creationId xmlns:p14="http://schemas.microsoft.com/office/powerpoint/2010/main" val="3446627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">
          <p15:clr>
            <a:srgbClr val="F26B43"/>
          </p15:clr>
        </p15:guide>
        <p15:guide id="2" pos="360">
          <p15:clr>
            <a:srgbClr val="A4A3A4"/>
          </p15:clr>
        </p15:guide>
        <p15:guide id="3" orient="horz" pos="3906">
          <p15:clr>
            <a:srgbClr val="F26B43"/>
          </p15:clr>
        </p15:guide>
        <p15:guide id="4" orient="horz" pos="4156">
          <p15:clr>
            <a:srgbClr val="F26B43"/>
          </p15:clr>
        </p15:guide>
      </p15:sldGuideLst>
    </p:ext>
  </p:extLs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66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4A8A9AC5-0E79-4DE0-B2FD-4BEFE45E6D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5868235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68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6367371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5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0534666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71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44824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73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80958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4A8A9AC5-0E79-4DE0-B2FD-4BEFE45E6D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331173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ith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5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80958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4A8A9AC5-0E79-4DE0-B2FD-4BEFE45E6D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2" name="Straight Connector 35">
            <a:extLst>
              <a:ext uri="{FF2B5EF4-FFF2-40B4-BE49-F238E27FC236}">
                <a16:creationId xmlns:a16="http://schemas.microsoft.com/office/drawing/2014/main" id="{C67592C2-0DB8-4942-A571-6655A988B75E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13576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78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0"/>
            <a:endParaRPr lang="en-GB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853626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80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418BE7AA-B05F-40FC-BE65-334D5A780A5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8E28A143-6AE4-4026-8B3B-9C8721F934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6163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083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3448DD5-93B4-4A86-B5D7-CD4057F6153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2667153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D580420-D108-4DFA-B447-3503E53C92F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09868" y="1808820"/>
            <a:ext cx="2667153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215690-EA4B-4816-B47C-BFB80C4C015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14951" y="1808820"/>
            <a:ext cx="2667153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17D90A67-975F-482E-9AB6-7B0ED64C41FE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9120035" y="1808820"/>
            <a:ext cx="2667153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598875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85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2667153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09868" y="1808820"/>
            <a:ext cx="2667153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14951" y="1808820"/>
            <a:ext cx="2667153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D0309A2-2C77-4A6B-86B6-B5D04081C27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9120035" y="1808820"/>
            <a:ext cx="2667153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48581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87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03FBAD7D-854D-404C-B8B3-4E2C7D8E19D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CC22739F-880B-4A8D-A44A-FA27E469BBD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15" name="Espace réservé du numéro de diapositive 2">
            <a:extLst>
              <a:ext uri="{FF2B5EF4-FFF2-40B4-BE49-F238E27FC236}">
                <a16:creationId xmlns:a16="http://schemas.microsoft.com/office/drawing/2014/main" id="{3E5B363C-4834-4022-B3EF-4F0B2F86B4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536A3F82-5F59-45E4-A8C9-83EAACE14FE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DC39ED46-ACD4-4140-8AE3-6EA8A681D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B038926-763C-48F5-9721-AE1BAF188A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3144358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90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5266C08B-2F7E-4F8B-BF8E-E61C11C088E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CE0DAD37-9E91-4CB5-BBFB-D7D0AE680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1FFA1AA5-BD0A-4DA2-B673-FFA69DD82A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FF24FD81-7B55-4044-B852-C1B3DF92DC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B9B9ED51-C446-4AC1-B24E-06FFE95D92F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9E12D94-276B-4046-B3E1-AA0B7ECE75A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6998920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92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67D8D94-1F4F-4570-BE87-CC0ACCECF1F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F236AEC-C7EC-4113-A52E-42CBE9E2CEC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35F5DA09-4EA3-477B-8AB6-2107939FF73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6FF221F3-455A-4503-86BF-647C6BFB674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3F49335F-1C58-4990-9C3F-134638C480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98936663-DB8F-4803-AE7D-C907BA7F10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24E312FF-57A8-41D2-8CEA-B8E4B94D39B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700E46C-E029-4D65-9750-72D1F0CADC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7380149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7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3916793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Dark Blue Bg with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95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67D8D94-1F4F-4570-BE87-CC0ACCECF1F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F236AEC-C7EC-4113-A52E-42CBE9E2CEC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35F5DA09-4EA3-477B-8AB6-2107939FF73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6FF221F3-455A-4503-86BF-647C6BFB674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3F49335F-1C58-4990-9C3F-134638C480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98936663-DB8F-4803-AE7D-C907BA7F10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24E312FF-57A8-41D2-8CEA-B8E4B94D39B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700E46C-E029-4D65-9750-72D1F0CADC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3" name="Straight Connector 35">
            <a:extLst>
              <a:ext uri="{FF2B5EF4-FFF2-40B4-BE49-F238E27FC236}">
                <a16:creationId xmlns:a16="http://schemas.microsoft.com/office/drawing/2014/main" id="{1F374AA6-28F4-41FD-A410-764242D207E0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82413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697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7A52EDD-AB3D-46B8-9552-5D0D13D5F36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768F86D-E142-4E52-9D2E-634CC9C157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768956C-096A-4710-B05A-BFA418BB475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F0A4DBDF-9DE1-4159-B9A5-0F036DC8A42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1480B72C-9876-453C-9F2F-0AE2DB43A8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1B7C54F0-393D-414A-AB4A-9C866103590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053CAEAD-747A-422E-A5A4-8DCFAFD21E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89CF81-246C-4814-B82F-ECB801F4C8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750B9D53-EB0D-4D50-9A03-24095E62AB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31253700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Dark Blue Bg with divider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9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7A52EDD-AB3D-46B8-9552-5D0D13D5F36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768F86D-E142-4E52-9D2E-634CC9C157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768956C-096A-4710-B05A-BFA418BB475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F0A4DBDF-9DE1-4159-B9A5-0F036DC8A42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1480B72C-9876-453C-9F2F-0AE2DB43A8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1B7C54F0-393D-414A-AB4A-9C866103590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053CAEAD-747A-422E-A5A4-8DCFAFD21E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89CF81-246C-4814-B82F-ECB801F4C8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3" name="Straight Connector 35">
            <a:extLst>
              <a:ext uri="{FF2B5EF4-FFF2-40B4-BE49-F238E27FC236}">
                <a16:creationId xmlns:a16="http://schemas.microsoft.com/office/drawing/2014/main" id="{38BA5899-CDBB-42D8-BFCD-64F5857EFC6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35">
            <a:extLst>
              <a:ext uri="{FF2B5EF4-FFF2-40B4-BE49-F238E27FC236}">
                <a16:creationId xmlns:a16="http://schemas.microsoft.com/office/drawing/2014/main" id="{0319CC48-B0CA-4682-86EB-D878921F8F3B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CFEB6BD6-1F6B-4CDA-A8BD-7B9947B8A3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4893650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Dark Blue Bg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902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A3E362D2-078D-4128-B488-B68D1D62549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</p:spTree>
    <p:extLst>
      <p:ext uri="{BB962C8B-B14F-4D97-AF65-F5344CB8AC3E}">
        <p14:creationId xmlns:p14="http://schemas.microsoft.com/office/powerpoint/2010/main" val="30335541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Dark Blue Bg with divider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04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5A248F93-3019-4CAF-B706-E2441D4F541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</p:spTree>
    <p:extLst>
      <p:ext uri="{BB962C8B-B14F-4D97-AF65-F5344CB8AC3E}">
        <p14:creationId xmlns:p14="http://schemas.microsoft.com/office/powerpoint/2010/main" val="28997125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07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7D382778-4BBE-4E08-86E4-7B7315AC1A6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BA150D9F-19CF-41D5-863B-7F91F1AB7D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2C66637-89A9-4034-A3B9-5E24586102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31F9D6FB-8DB3-4379-851A-D7F19062A2E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ADCF342B-275C-4A27-A66D-2820075198A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47377B4-5609-49EE-8F95-1C8A59DF90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4297537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209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3E2F2A02-19F4-4543-A149-7BA6112B4EB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3A83716A-3280-4F1F-A538-84B68BE706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937237CF-7891-41A0-8496-C3B641A44E5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EA13E63A-DB9A-4943-94F5-7D1662AF82E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AF25B436-5E52-4A56-8F65-3680B6E8DD4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1403F2-4414-4234-BC39-C68A3C04006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20406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11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3" name="Graphique 8">
            <a:extLst>
              <a:ext uri="{FF2B5EF4-FFF2-40B4-BE49-F238E27FC236}">
                <a16:creationId xmlns:a16="http://schemas.microsoft.com/office/drawing/2014/main" id="{FAB72C51-19EB-42BF-84AF-F648EA3B2BB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11135A29-83DC-4483-B5FF-BA7A26B481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7E11A5F4-9100-441C-8387-740981956A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13763D44-1A8C-41DD-9E5B-CB819BE4C5D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3B60D1F3-5624-4887-AC07-8B788D01CBD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6E829D9-0666-4D5B-9896-28C1CEC4B7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7683197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Blue Bg with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14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3" name="Graphique 8">
            <a:extLst>
              <a:ext uri="{FF2B5EF4-FFF2-40B4-BE49-F238E27FC236}">
                <a16:creationId xmlns:a16="http://schemas.microsoft.com/office/drawing/2014/main" id="{FAB72C51-19EB-42BF-84AF-F648EA3B2BB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11135A29-83DC-4483-B5FF-BA7A26B481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7E11A5F4-9100-441C-8387-740981956A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13763D44-1A8C-41DD-9E5B-CB819BE4C5D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3B60D1F3-5624-4887-AC07-8B788D01CBD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6E829D9-0666-4D5B-9896-28C1CEC4B7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5E3D423D-34E1-4BDE-8374-98A2C452EFBE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36167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16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86D5BC3-F5D3-415B-B920-B84A14BC8E3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114C476-0380-4CDD-850C-316ADAE5BF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A1D61AC-BD7C-4366-9299-08E3EFE5406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7" name="Graphique 8">
            <a:extLst>
              <a:ext uri="{FF2B5EF4-FFF2-40B4-BE49-F238E27FC236}">
                <a16:creationId xmlns:a16="http://schemas.microsoft.com/office/drawing/2014/main" id="{179657D5-47C7-4E75-BEE7-A780E55EE72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B8BDCCF6-F619-4F6E-8F2B-C4DA9F23171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0D86C3E4-5B42-4A1F-B550-10045E810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5D573DBF-7B78-4EB4-859D-55DACC88EE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BA89C3CB-68C8-4D8E-9AFC-40C4E7D1120F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AD0B33D-4376-4867-B390-6240868464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5649908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0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80958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4A8A9AC5-0E79-4DE0-B2FD-4BEFE45E6D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9732693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Blue Bg with divider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19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86D5BC3-F5D3-415B-B920-B84A14BC8E3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114C476-0380-4CDD-850C-316ADAE5BF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A1D61AC-BD7C-4366-9299-08E3EFE5406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7" name="Graphique 8">
            <a:extLst>
              <a:ext uri="{FF2B5EF4-FFF2-40B4-BE49-F238E27FC236}">
                <a16:creationId xmlns:a16="http://schemas.microsoft.com/office/drawing/2014/main" id="{179657D5-47C7-4E75-BEE7-A780E55EE72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B8BDCCF6-F619-4F6E-8F2B-C4DA9F23171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0D86C3E4-5B42-4A1F-B550-10045E810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5D573DBF-7B78-4EB4-859D-55DACC88EE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BA89C3CB-68C8-4D8E-9AFC-40C4E7D1120F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AD0B33D-4376-4867-B390-6240868464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6D1337EB-DEA5-4E68-BE59-E3A0603AE2DF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F9606CDD-74E8-4C9E-BCA3-937206DAC0A3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27593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Blue Bg 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721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37946721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Blue Bg with divider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3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39120747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26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D89E5884-F1A8-4E0D-9234-BB2A7C6AA43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4F3B4695-392F-4D5E-A21D-D31873D404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818C64AC-1412-4DDD-9F43-C2EF051921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8" name="Espace réservé du numéro de diapositive 2">
            <a:extLst>
              <a:ext uri="{FF2B5EF4-FFF2-40B4-BE49-F238E27FC236}">
                <a16:creationId xmlns:a16="http://schemas.microsoft.com/office/drawing/2014/main" id="{83E3C24A-2205-49DD-8B09-37A94D1654F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9" name="Espace réservé du pied de page 4">
            <a:extLst>
              <a:ext uri="{FF2B5EF4-FFF2-40B4-BE49-F238E27FC236}">
                <a16:creationId xmlns:a16="http://schemas.microsoft.com/office/drawing/2014/main" id="{D391BA41-15A6-4B3E-AA8F-038F30517DC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43749402-7B23-4B7E-B9FD-7CAE1CA86F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2969318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28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2513B4C4-9B08-40EC-B04E-201CA7DE434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27AFC4AA-0C36-4C10-8687-BEDF59DC2DB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B6971712-3753-4718-88F2-399AFD21BA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3F3ECF30-253F-41F7-AE85-6ED0B962BF5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EBE9D903-93C1-4E77-A737-5DA411D2FA94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4E21DDE-C5A0-4A10-8DBA-9017D1642C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9693807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31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5051729-BB8F-4F8B-9768-535B59EB22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A67810E-C380-4F6B-97F0-4AACF4232B4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D938CEE-A044-4227-9DE9-9D7C7481578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AE0492C6-FFE2-4A64-A953-436559870D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123DD79-4804-466E-858A-943320EFB0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2D9890A8-BA01-4982-A473-4ABF58AED3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A1BE0EC3-13A4-4B01-B222-35E0403F4ED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5E1329CB-08A8-4373-99C4-D2CCF23098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7685507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Turquoise Bg with 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33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5051729-BB8F-4F8B-9768-535B59EB22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A67810E-C380-4F6B-97F0-4AACF4232B4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D938CEE-A044-4227-9DE9-9D7C7481578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AE0492C6-FFE2-4A64-A953-436559870D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123DD79-4804-466E-858A-943320EFB0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2D9890A8-BA01-4982-A473-4ABF58AED3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A1BE0EC3-13A4-4B01-B222-35E0403F4ED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5E1329CB-08A8-4373-99C4-D2CCF23098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CCC03A1B-8149-4249-BC87-D1342F48BC4A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00394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35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6FF21A3-5C44-47ED-B6D7-AE6CB6A1102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5D31501-DC21-4740-ACF3-F1316E59819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9E9C974-F8D0-482E-9985-E67DFC62129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84A8F74-C187-471B-BECD-90117FE9539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0A73578C-E463-4003-8A18-1D881A90DD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96221AE0-5837-481C-BC68-0F09E348A5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473C7761-AA9D-4D80-922D-D9468B5F3B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A199F665-569C-4DB3-8791-44F0F59D740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93F987A-170C-4E76-A7D8-DC706875F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5833601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Turquoise Bg with divider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38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6FF21A3-5C44-47ED-B6D7-AE6CB6A1102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5D31501-DC21-4740-ACF3-F1316E59819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9E9C974-F8D0-482E-9985-E67DFC62129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84A8F74-C187-471B-BECD-90117FE9539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0A73578C-E463-4003-8A18-1D881A90DD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96221AE0-5837-481C-BC68-0F09E348A5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473C7761-AA9D-4D80-922D-D9468B5F3B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A199F665-569C-4DB3-8791-44F0F59D740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93F987A-170C-4E76-A7D8-DC706875F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FAF1B7B1-87E0-46A4-AA07-C1063E54C3AD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18811E3C-6550-477D-B750-990B471D9E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4794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columns_Green Bg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40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373054" y="1997656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B581EAD-818C-45A4-80FE-963E44E24C9E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404786" y="2001973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561D6C5-C10B-443C-B2FA-9D56B1984C79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3388920" y="1997656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D014CE33-0AF2-4D70-9BF6-B1EE278ACE92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9357188" y="1997656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761304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with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2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80958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4A8A9AC5-0E79-4DE0-B2FD-4BEFE45E6DD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4B133EB-BD49-4C88-BF23-773A2466DB4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A8E7ED9E-A328-4987-9140-8AE9269541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80ACD6-00A9-4C39-A87C-3E9B0191EB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2" name="Straight Connector 35">
            <a:extLst>
              <a:ext uri="{FF2B5EF4-FFF2-40B4-BE49-F238E27FC236}">
                <a16:creationId xmlns:a16="http://schemas.microsoft.com/office/drawing/2014/main" id="{C67592C2-0DB8-4942-A571-6655A988B75E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866784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643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437C81F6-288B-4CD6-8434-31E05629586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D7927E3E-1782-4A07-BD59-371C4D8227B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934B8D39-A21D-4C23-9BB3-0812B9F088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F763B716-FDA1-4D3C-824D-1B00864184A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9679F60-0A60-49CD-A33B-A0143C31A6D1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1CD4711-4D41-4B4B-B260-0ED56BC260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7409327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745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668B2CFD-22F1-4431-AF94-F5F28A5873D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36BACE50-F370-4AF7-A623-EFA8E8D0FB5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4160477B-743B-492A-BC15-89FE6D09C2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77A23A92-4733-4D64-9578-199845FA400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2143B5D6-D335-415F-ABD0-9712884C01B1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4DA76F43-5248-440F-A481-AE3424C906A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6499499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7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C0E9943-F655-4D87-8A71-C5CD7B1F33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6438B2F-8ED1-4D14-A1C7-E9F68322689E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ACDC552B-8CDA-48CA-A8A8-811FCC54FFE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C8F73D43-A7D3-4516-ABE8-FE463CC621C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63ED53C-324B-4E02-A190-3A1DB4E58E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15860257-6371-40C0-A1CD-7F88E895871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C64E4412-2519-4051-AC29-ED56CF367D6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894B4D6-48C5-485B-A19E-2E2EFB7416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9350325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Violet Bg with divider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50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C0E9943-F655-4D87-8A71-C5CD7B1F33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6438B2F-8ED1-4D14-A1C7-E9F68322689E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ACDC552B-8CDA-48CA-A8A8-811FCC54FFE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C8F73D43-A7D3-4516-ABE8-FE463CC621C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63ED53C-324B-4E02-A190-3A1DB4E58E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15860257-6371-40C0-A1CD-7F88E895871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C64E4412-2519-4051-AC29-ED56CF367D6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894B4D6-48C5-485B-A19E-2E2EFB7416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23DB9D5B-DC75-428B-A756-12D2B3B16114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0271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52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B84738E-FC65-4057-B3F9-EDDD50E90A8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87E670E-DB4B-44E8-8FE3-D62DABA7F3D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614C37-0687-453B-98AC-92943109E11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63FE658E-9ADA-4627-B4E3-4DE0E374FD5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08D919A-4DF1-46CD-A2AE-41E585FD8A4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511B61A5-D4C6-4685-8C16-DCFA216B9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F2B16B7C-A9B4-4FD7-826E-9D73B19E65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B0C6C810-3AC8-4CF2-81C8-1D7058CBD4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BDDDA5B-7CD0-43A3-9A8B-D5946ECB06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1365186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Violet Bg with divider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55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B84738E-FC65-4057-B3F9-EDDD50E90A8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87E670E-DB4B-44E8-8FE3-D62DABA7F3D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614C37-0687-453B-98AC-92943109E11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63FE658E-9ADA-4627-B4E3-4DE0E374FD5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08D919A-4DF1-46CD-A2AE-41E585FD8A4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511B61A5-D4C6-4685-8C16-DCFA216B9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F2B16B7C-A9B4-4FD7-826E-9D73B19E65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B0C6C810-3AC8-4CF2-81C8-1D7058CBD4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BDDDA5B-7CD0-43A3-9A8B-D5946ECB06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7" name="Straight Connector 35">
            <a:extLst>
              <a:ext uri="{FF2B5EF4-FFF2-40B4-BE49-F238E27FC236}">
                <a16:creationId xmlns:a16="http://schemas.microsoft.com/office/drawing/2014/main" id="{983523C1-7153-4692-B90B-65F30FC43340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68E2FD7F-148A-4626-93A8-57B0F05B1379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680642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Violet Bg 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257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1039448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Violet Bg with divider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359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21544028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462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1FF10C85-C858-42F2-83FC-085ECE0AD8C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63819D-3826-4C37-A6B2-F6BF2FA7C1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E3BBFF9-605D-4045-AFCA-0630CAF6290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3420588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FA17D264-6969-4214-AE06-EF30C4A526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407172" y="2785487"/>
            <a:ext cx="2378847" cy="1477328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5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647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6B1772CC-CE52-4E78-B63F-76A973F91E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72A123BC-64B8-4F7B-855D-41D9EB63A6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3118352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5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0"/>
            <a:endParaRPr lang="en-GB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922215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667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6B1772CC-CE52-4E78-B63F-76A973F91E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DAB39EE-A592-42CC-A3A7-B1D1A851EA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1A62086C-76E4-4718-9B87-7C2FB483077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1F85B39E-ADE6-4814-B538-973092E927F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8" name="Espace réservé du texte 4">
            <a:extLst>
              <a:ext uri="{FF2B5EF4-FFF2-40B4-BE49-F238E27FC236}">
                <a16:creationId xmlns:a16="http://schemas.microsoft.com/office/drawing/2014/main" id="{9CE6EC93-06F2-4F91-965C-189C479505A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F78CE628-C138-44AB-BF90-4CD6DCBF6C9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0" name="Espace réservé du texte 15">
            <a:extLst>
              <a:ext uri="{FF2B5EF4-FFF2-40B4-BE49-F238E27FC236}">
                <a16:creationId xmlns:a16="http://schemas.microsoft.com/office/drawing/2014/main" id="{6683BE0B-F7A1-470B-9F10-E4277EE351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2" name="Espace réservé du texte 15">
            <a:extLst>
              <a:ext uri="{FF2B5EF4-FFF2-40B4-BE49-F238E27FC236}">
                <a16:creationId xmlns:a16="http://schemas.microsoft.com/office/drawing/2014/main" id="{4171E4E7-27E3-4CAE-8117-8B0985E3269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CF196C90-BFA5-4EB1-809E-257C96ED6B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4" name="Espace réservé du texte 15">
            <a:extLst>
              <a:ext uri="{FF2B5EF4-FFF2-40B4-BE49-F238E27FC236}">
                <a16:creationId xmlns:a16="http://schemas.microsoft.com/office/drawing/2014/main" id="{BA8D7796-2153-4B06-BE09-A751E28741D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648934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69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6B1772CC-CE52-4E78-B63F-76A973F91E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72A123BC-64B8-4F7B-855D-41D9EB63A6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FFF7EE1B-7DB4-488B-B26D-A38B11675A8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3" name="Espace réservé du texte 4">
            <a:extLst>
              <a:ext uri="{FF2B5EF4-FFF2-40B4-BE49-F238E27FC236}">
                <a16:creationId xmlns:a16="http://schemas.microsoft.com/office/drawing/2014/main" id="{96518655-1BBA-4FB9-A1A1-87676ECAF40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8634DFA4-CD88-4C57-A92C-47493D245D0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09285BF7-E824-44DC-8939-2EEDF8EAB5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15">
            <a:extLst>
              <a:ext uri="{FF2B5EF4-FFF2-40B4-BE49-F238E27FC236}">
                <a16:creationId xmlns:a16="http://schemas.microsoft.com/office/drawing/2014/main" id="{7EA390A2-E2D4-4D20-BDB9-C874325BA37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7" name="Espace réservé du texte 15">
            <a:extLst>
              <a:ext uri="{FF2B5EF4-FFF2-40B4-BE49-F238E27FC236}">
                <a16:creationId xmlns:a16="http://schemas.microsoft.com/office/drawing/2014/main" id="{1564D801-B0E6-43C3-8B94-0E89FD96100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8" name="Espace réservé du texte 15">
            <a:extLst>
              <a:ext uri="{FF2B5EF4-FFF2-40B4-BE49-F238E27FC236}">
                <a16:creationId xmlns:a16="http://schemas.microsoft.com/office/drawing/2014/main" id="{461F3D26-7698-4382-817D-06AE9A8CDF0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B611E923-D3EE-49B7-A936-85891DEAA7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id="{F37A373E-B0C6-4A3A-88BD-3C093DFFB918}"/>
              </a:ext>
            </a:extLst>
          </p:cNvPr>
          <p:cNvCxnSpPr>
            <a:cxnSpLocks/>
          </p:cNvCxnSpPr>
          <p:nvPr userDrawn="1"/>
        </p:nvCxnSpPr>
        <p:spPr>
          <a:xfrm flipV="1">
            <a:off x="309480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5">
            <a:extLst>
              <a:ext uri="{FF2B5EF4-FFF2-40B4-BE49-F238E27FC236}">
                <a16:creationId xmlns:a16="http://schemas.microsoft.com/office/drawing/2014/main" id="{0BDAA492-5340-46F7-A09D-5F68BE925AB6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9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5">
            <a:extLst>
              <a:ext uri="{FF2B5EF4-FFF2-40B4-BE49-F238E27FC236}">
                <a16:creationId xmlns:a16="http://schemas.microsoft.com/office/drawing/2014/main" id="{8EDA2254-B51E-42A4-9F98-3E60FD4D7E0B}"/>
              </a:ext>
            </a:extLst>
          </p:cNvPr>
          <p:cNvCxnSpPr>
            <a:cxnSpLocks/>
          </p:cNvCxnSpPr>
          <p:nvPr userDrawn="1"/>
        </p:nvCxnSpPr>
        <p:spPr>
          <a:xfrm flipV="1">
            <a:off x="909719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621210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1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6B1772CC-CE52-4E78-B63F-76A973F91E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DAB39EE-A592-42CC-A3A7-B1D1A851EA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5FBBBE71-038F-47FD-AA2F-DDF7087FA88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3" name="Espace réservé du texte 4">
            <a:extLst>
              <a:ext uri="{FF2B5EF4-FFF2-40B4-BE49-F238E27FC236}">
                <a16:creationId xmlns:a16="http://schemas.microsoft.com/office/drawing/2014/main" id="{019C832B-ADC5-4655-A9BB-B9E27C49AAA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33B8FF24-5350-4358-8A61-01E632CBA03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F6A611CF-4A0C-414F-97D1-05D2E00D94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15">
            <a:extLst>
              <a:ext uri="{FF2B5EF4-FFF2-40B4-BE49-F238E27FC236}">
                <a16:creationId xmlns:a16="http://schemas.microsoft.com/office/drawing/2014/main" id="{14D079C5-56C5-4829-9279-B9D159053C0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7" name="Espace réservé du texte 15">
            <a:extLst>
              <a:ext uri="{FF2B5EF4-FFF2-40B4-BE49-F238E27FC236}">
                <a16:creationId xmlns:a16="http://schemas.microsoft.com/office/drawing/2014/main" id="{A8B2B706-3906-4253-B6DB-A7C2AFD16B1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8" name="Espace réservé du texte 15">
            <a:extLst>
              <a:ext uri="{FF2B5EF4-FFF2-40B4-BE49-F238E27FC236}">
                <a16:creationId xmlns:a16="http://schemas.microsoft.com/office/drawing/2014/main" id="{829361D3-585B-4494-AC11-E01E8991D2B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46550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</a:t>
            </a:r>
            <a:br>
              <a:rPr lang="en-GB"/>
            </a:br>
            <a:r>
              <a:rPr lang="en-GB"/>
              <a:t>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432D91E9-DE40-4B4D-9E1B-9DBA866F339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1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id="{4D161E9A-7872-4440-9E61-28B41BBA4C74}"/>
              </a:ext>
            </a:extLst>
          </p:cNvPr>
          <p:cNvCxnSpPr>
            <a:cxnSpLocks/>
          </p:cNvCxnSpPr>
          <p:nvPr userDrawn="1"/>
        </p:nvCxnSpPr>
        <p:spPr>
          <a:xfrm flipV="1">
            <a:off x="309480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5">
            <a:extLst>
              <a:ext uri="{FF2B5EF4-FFF2-40B4-BE49-F238E27FC236}">
                <a16:creationId xmlns:a16="http://schemas.microsoft.com/office/drawing/2014/main" id="{CBF43B31-2F37-4F9B-ABAB-B30C401656C8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9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5">
            <a:extLst>
              <a:ext uri="{FF2B5EF4-FFF2-40B4-BE49-F238E27FC236}">
                <a16:creationId xmlns:a16="http://schemas.microsoft.com/office/drawing/2014/main" id="{29B91B6C-BAB5-4232-87EA-0EA2E4093CD3}"/>
              </a:ext>
            </a:extLst>
          </p:cNvPr>
          <p:cNvCxnSpPr>
            <a:cxnSpLocks/>
          </p:cNvCxnSpPr>
          <p:nvPr userDrawn="1"/>
        </p:nvCxnSpPr>
        <p:spPr>
          <a:xfrm flipV="1">
            <a:off x="909719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451614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74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3D36ADE6-0DA4-44E3-B987-5881099F82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E3F45E-E84E-4C33-9A96-378F378EB3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790268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76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3D36ADE6-0DA4-44E3-B987-5881099F82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4B90A9-86C7-4CA7-AC86-9B7C03D231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515C157A-6F74-44A8-9785-4A8F9335C02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A3F60031-8B36-438E-A717-35784DD2D5A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2942971D-C98D-4428-A689-9423825AAD8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9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A6334CC9-1D70-4436-83AA-B17CBD59311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20EA07A4-D40F-47BA-8114-083CB3AD11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B648F2B2-21C5-4074-BA28-735D9BA020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1414664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179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3D36ADE6-0DA4-44E3-B987-5881099F82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E3F45E-E84E-4C33-9A96-378F378EB3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8AD0E370-DCF9-49CD-9EA7-8B8AC362457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CEAFF2D8-1A9C-44B0-9198-6142941FCDB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E3D7F208-6D50-442A-A3BA-61611E5E86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E8F2F6B4-2140-44C5-A120-32F8342665F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1CF7206F-481C-4380-B8D3-416C8CFAAA3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A48E232D-A901-4275-8D27-BF6BBBAB33F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cxnSp>
        <p:nvCxnSpPr>
          <p:cNvPr id="28" name="Straight Connector 35">
            <a:extLst>
              <a:ext uri="{FF2B5EF4-FFF2-40B4-BE49-F238E27FC236}">
                <a16:creationId xmlns:a16="http://schemas.microsoft.com/office/drawing/2014/main" id="{24D521F1-2193-411F-B113-AC0566A258B2}"/>
              </a:ext>
            </a:extLst>
          </p:cNvPr>
          <p:cNvCxnSpPr>
            <a:cxnSpLocks/>
          </p:cNvCxnSpPr>
          <p:nvPr userDrawn="1"/>
        </p:nvCxnSpPr>
        <p:spPr>
          <a:xfrm flipV="1">
            <a:off x="404291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5">
            <a:extLst>
              <a:ext uri="{FF2B5EF4-FFF2-40B4-BE49-F238E27FC236}">
                <a16:creationId xmlns:a16="http://schemas.microsoft.com/office/drawing/2014/main" id="{39E588EC-DE9F-4E69-916F-F600E76412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138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14045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81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3D36ADE6-0DA4-44E3-B987-5881099F82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4B90A9-86C7-4CA7-AC86-9B7C03D231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B3E82CFB-97D6-45D7-BADA-9AB9D04832F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BFDAFBE7-77A0-416D-9494-5416435885C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44582077-3607-4624-94EF-42536719D7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9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D0D64E5F-2B42-446B-9608-5610CA2AC36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4FDFF29E-822C-437E-B6C9-C13E38631E2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99E1DAEB-5F78-44FD-A2AD-EF997D472D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cxnSp>
        <p:nvCxnSpPr>
          <p:cNvPr id="28" name="Straight Connector 35">
            <a:extLst>
              <a:ext uri="{FF2B5EF4-FFF2-40B4-BE49-F238E27FC236}">
                <a16:creationId xmlns:a16="http://schemas.microsoft.com/office/drawing/2014/main" id="{2C504288-9A20-4118-B47D-A6EBD7BD1D88}"/>
              </a:ext>
            </a:extLst>
          </p:cNvPr>
          <p:cNvCxnSpPr>
            <a:cxnSpLocks/>
          </p:cNvCxnSpPr>
          <p:nvPr userDrawn="1"/>
        </p:nvCxnSpPr>
        <p:spPr>
          <a:xfrm flipV="1">
            <a:off x="404291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5">
            <a:extLst>
              <a:ext uri="{FF2B5EF4-FFF2-40B4-BE49-F238E27FC236}">
                <a16:creationId xmlns:a16="http://schemas.microsoft.com/office/drawing/2014/main" id="{EC5596AD-B23F-45D5-9FA4-416451B248F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138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02160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box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83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6256" y="1993900"/>
            <a:ext cx="2378846" cy="369332"/>
          </a:xfr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1232" y="1993900"/>
            <a:ext cx="2378846" cy="369332"/>
          </a:xfr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6208" y="1993900"/>
            <a:ext cx="2378846" cy="369332"/>
          </a:xfrm>
          <a:solidFill>
            <a:schemeClr val="accent4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83" y="1993900"/>
            <a:ext cx="2378846" cy="369332"/>
          </a:xfrm>
          <a:solidFill>
            <a:schemeClr val="accent1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887" y="263411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0985" y="263411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16083" y="263411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31182" y="263411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6B1772CC-CE52-4E78-B63F-76A973F91E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340DE3B-4ADD-48BE-BCE6-7FE7A77863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40487054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box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86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6256" y="1993900"/>
            <a:ext cx="2378846" cy="369332"/>
          </a:xfr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1232" y="1993900"/>
            <a:ext cx="2378846" cy="369332"/>
          </a:xfr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6208" y="1993900"/>
            <a:ext cx="2378846" cy="369332"/>
          </a:xfrm>
          <a:solidFill>
            <a:schemeClr val="accent3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83" y="1993900"/>
            <a:ext cx="2378846" cy="369332"/>
          </a:xfrm>
          <a:solidFill>
            <a:schemeClr val="accent1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887" y="263411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0985" y="263411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16083" y="263411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31182" y="263411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 marL="758825" indent="0">
              <a:buNone/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6B1772CC-CE52-4E78-B63F-76A973F91E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ED3FC135-82C8-4A96-888D-AB8CE896130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031987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box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88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775" y="263411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50146" y="263411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7062" y="263411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6143" y="1993899"/>
            <a:ext cx="3195009" cy="369332"/>
          </a:xfr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50330" y="1993899"/>
            <a:ext cx="3195009" cy="369332"/>
          </a:xfr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17062" y="1993899"/>
            <a:ext cx="3195009" cy="369332"/>
          </a:xfrm>
          <a:solidFill>
            <a:schemeClr val="accent4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3D36ADE6-0DA4-44E3-B987-5881099F82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DF5ACA36-D848-4F29-92F9-47321029F3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7619302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7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418BE7AA-B05F-40FC-BE65-334D5A780A5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8E28A143-6AE4-4026-8B3B-9C8721F934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68041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box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91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775" y="263411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50146" y="263411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7062" y="263411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6143" y="1993899"/>
            <a:ext cx="3195009" cy="369332"/>
          </a:xfr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50330" y="1993899"/>
            <a:ext cx="3195009" cy="369332"/>
          </a:xfr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17062" y="1993899"/>
            <a:ext cx="3195009" cy="369332"/>
          </a:xfrm>
          <a:solidFill>
            <a:schemeClr val="accent3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3D36ADE6-0DA4-44E3-B987-5881099F82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8E6DE7D-0FB2-4B25-A7F7-95C4D06B932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0081558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793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7DF1024-681A-4B64-B209-B8AE20F4C7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0156DF7-56BC-40D5-8DA8-2F22C6D867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Espace réservé du numéro de diapositive 2">
            <a:extLst>
              <a:ext uri="{FF2B5EF4-FFF2-40B4-BE49-F238E27FC236}">
                <a16:creationId xmlns:a16="http://schemas.microsoft.com/office/drawing/2014/main" id="{050AD626-E7A4-427F-9A3F-B6A6BA21F6B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A9AA2E6C-EBCE-4B97-AB00-23968A3265E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17C93FA-7D2C-4658-80E0-B891EA08A0C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331356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3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batim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5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grpSp>
        <p:nvGrpSpPr>
          <p:cNvPr id="18" name="Group 10">
            <a:extLst>
              <a:ext uri="{FF2B5EF4-FFF2-40B4-BE49-F238E27FC236}">
                <a16:creationId xmlns:a16="http://schemas.microsoft.com/office/drawing/2014/main" id="{37034E82-C110-4AF1-81C9-1B2FF8608B01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tx2"/>
          </a:solidFill>
        </p:grpSpPr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BD7A13DF-71B0-4DF3-9670-ECE3232317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C79DC92B-9CE8-407F-B93F-CA5ACD8F2E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</p:spPr>
        <p:txBody>
          <a:bodyPr anchor="b">
            <a:normAutofit/>
          </a:bodyPr>
          <a:lstStyle>
            <a:lvl1pPr marL="0" indent="0">
              <a:buNone/>
              <a:defRPr sz="2800"/>
            </a:lvl1pPr>
          </a:lstStyle>
          <a:p>
            <a:pPr lvl="0"/>
            <a:r>
              <a:rPr lang="en-GB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36285"/>
            <a:ext cx="9436100" cy="338554"/>
          </a:xfr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Name, Position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69A5C51-135A-4539-8A83-F2DE50C157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</p:spTree>
    <p:extLst>
      <p:ext uri="{BB962C8B-B14F-4D97-AF65-F5344CB8AC3E}">
        <p14:creationId xmlns:p14="http://schemas.microsoft.com/office/powerpoint/2010/main" val="33692008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batim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98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</p:spPr>
        <p:txBody>
          <a:bodyPr anchor="b">
            <a:normAutofit/>
          </a:bodyPr>
          <a:lstStyle>
            <a:lvl1pPr marL="0" indent="0">
              <a:buNone/>
              <a:defRPr sz="2800"/>
            </a:lvl1pPr>
          </a:lstStyle>
          <a:p>
            <a:pPr lvl="0"/>
            <a:r>
              <a:rPr lang="en-GB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36285"/>
            <a:ext cx="9436100" cy="338554"/>
          </a:xfr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Name, Position</a:t>
            </a:r>
          </a:p>
        </p:txBody>
      </p:sp>
      <p:grpSp>
        <p:nvGrpSpPr>
          <p:cNvPr id="13" name="Group 10">
            <a:extLst>
              <a:ext uri="{FF2B5EF4-FFF2-40B4-BE49-F238E27FC236}">
                <a16:creationId xmlns:a16="http://schemas.microsoft.com/office/drawing/2014/main" id="{4A038897-2792-4479-8EAB-9A8ABDE74F32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bg2"/>
          </a:solidFill>
        </p:grpSpPr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BECFD5B3-64F4-4C51-A672-EBE7467808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099295A6-576A-454D-9A3A-8717776883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9F4AF75B-C07F-40D0-9789-3B7669A974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</p:spTree>
    <p:extLst>
      <p:ext uri="{BB962C8B-B14F-4D97-AF65-F5344CB8AC3E}">
        <p14:creationId xmlns:p14="http://schemas.microsoft.com/office/powerpoint/2010/main" val="40065116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batim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671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</p:spPr>
        <p:txBody>
          <a:bodyPr anchor="b"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60907"/>
            <a:ext cx="9436100" cy="313932"/>
          </a:xfr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Name, Position</a:t>
            </a:r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4F76921A-1CA6-45D7-A760-D7C080EEEB2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grpSp>
        <p:nvGrpSpPr>
          <p:cNvPr id="16" name="Group 10">
            <a:extLst>
              <a:ext uri="{FF2B5EF4-FFF2-40B4-BE49-F238E27FC236}">
                <a16:creationId xmlns:a16="http://schemas.microsoft.com/office/drawing/2014/main" id="{B5EE29BA-2D73-4E72-A1CA-6B221F770E63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bg1"/>
          </a:solidFill>
        </p:grpSpPr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07E82261-878F-41AC-82EB-D8EEDA8D47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16276F45-0CAF-4CAB-9066-CAABA52E25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BCFA5C14-C9CA-4FFB-9083-AE890C41C0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D4126967-78A5-497D-A140-B29A3E7B98F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38B07116-5D1F-4AA7-9788-74A3139F7BB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</p:spTree>
    <p:extLst>
      <p:ext uri="{BB962C8B-B14F-4D97-AF65-F5344CB8AC3E}">
        <p14:creationId xmlns:p14="http://schemas.microsoft.com/office/powerpoint/2010/main" val="40238659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pour une image  14">
            <a:extLst>
              <a:ext uri="{FF2B5EF4-FFF2-40B4-BE49-F238E27FC236}">
                <a16:creationId xmlns:a16="http://schemas.microsoft.com/office/drawing/2014/main" id="{CF658DAE-7146-4BB8-8107-92D632B4BBF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123892" y="0"/>
            <a:ext cx="7068108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/>
              <a:t> 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203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C255F4D-0F63-429F-A210-8AB39E1597B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4431074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8F43575F-7025-4100-95D8-AB5D8B996E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</a:t>
            </a:r>
            <a:r>
              <a:rPr lang="fr-FR" err="1"/>
              <a:t>slidE</a:t>
            </a:r>
            <a:endParaRPr lang="fr-FR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3946F594-BA66-4464-A354-77BE6FF12C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1843EEE-85CE-4470-99A7-7C858A8238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41378159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</a:t>
            </a:r>
            <a:r>
              <a:rPr lang="fr-FR" err="1"/>
              <a:t>slidE</a:t>
            </a:r>
            <a:endParaRPr lang="fr-FR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40872193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</a:t>
            </a:r>
            <a:r>
              <a:rPr lang="fr-FR" err="1"/>
              <a:t>slidE</a:t>
            </a:r>
            <a:endParaRPr lang="fr-FR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2974735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</a:t>
            </a:r>
            <a:r>
              <a:rPr lang="fr-FR" err="1"/>
              <a:t>slidE</a:t>
            </a:r>
            <a:endParaRPr lang="fr-FR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FC8FF2AF-06A0-4B8B-9C11-55AAD938CF0A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2BA67531-D311-47B7-B960-48B899E690DC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63527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</a:t>
            </a:r>
            <a:r>
              <a:rPr lang="fr-FR" err="1"/>
              <a:t>slidE</a:t>
            </a:r>
            <a:endParaRPr lang="fr-FR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2F8C33B5-002C-4EF1-B673-4461C926FCC8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A95AE8C0-70B8-4713-90A9-411938A16F46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635597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3448DD5-93B4-4A86-B5D7-CD4057F6153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2667153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D580420-D108-4DFA-B447-3503E53C92F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09868" y="1808820"/>
            <a:ext cx="2667153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215690-EA4B-4816-B47C-BFB80C4C015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14951" y="1808820"/>
            <a:ext cx="2667153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17D90A67-975F-482E-9AB6-7B0ED64C41FE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9120035" y="1808820"/>
            <a:ext cx="2667153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7946565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FC2D6908-8D7A-4CE7-9DE7-6E0F205FAC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TITLE OF THE SLIDE</a:t>
            </a:r>
          </a:p>
        </p:txBody>
      </p:sp>
      <p:sp>
        <p:nvSpPr>
          <p:cNvPr id="13" name="Espace réservé du numéro de diapositive 2">
            <a:extLst>
              <a:ext uri="{FF2B5EF4-FFF2-40B4-BE49-F238E27FC236}">
                <a16:creationId xmlns:a16="http://schemas.microsoft.com/office/drawing/2014/main" id="{24ADEA99-782B-4EA9-8B50-5C36455F7ED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id="{1C65FA57-AC6F-4E7C-BFE5-E8B5F9BC459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894C1CDE-19D4-4D84-B267-37EEF280E79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785680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10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</a:t>
            </a:r>
            <a:r>
              <a:rPr lang="fr-FR" err="1"/>
              <a:t>slidE</a:t>
            </a:r>
            <a:endParaRPr lang="fr-FR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7886757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</a:t>
            </a:r>
            <a:r>
              <a:rPr lang="fr-FR" err="1"/>
              <a:t>slidE</a:t>
            </a:r>
            <a:endParaRPr lang="fr-FR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0332021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</a:t>
            </a:r>
            <a:r>
              <a:rPr lang="fr-FR" err="1"/>
              <a:t>slidE</a:t>
            </a:r>
            <a:endParaRPr lang="fr-FR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46EDFA8F-1089-4EDE-804F-C8EEA747D94B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E1FE6121-B033-48ED-8125-9D7B1EB9D180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74816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</a:t>
            </a:r>
            <a:r>
              <a:rPr lang="fr-FR" err="1"/>
              <a:t>slidE</a:t>
            </a:r>
            <a:endParaRPr lang="fr-FR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07307D6C-CFED-478A-8521-38542B995C3C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38E10114-9C0F-4DDB-BF6F-27B6517277F2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99632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Visual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Espace réservé pour une image  3">
            <a:extLst>
              <a:ext uri="{FF2B5EF4-FFF2-40B4-BE49-F238E27FC236}">
                <a16:creationId xmlns:a16="http://schemas.microsoft.com/office/drawing/2014/main" id="{DEEBD65F-9282-4B5F-A1DF-2D1CD3CF8043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2060848"/>
            <a:ext cx="3121480" cy="273630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28" name="Espace réservé pour une image  3">
            <a:extLst>
              <a:ext uri="{FF2B5EF4-FFF2-40B4-BE49-F238E27FC236}">
                <a16:creationId xmlns:a16="http://schemas.microsoft.com/office/drawing/2014/main" id="{92DC38E2-6433-425A-AC4B-48625A6E880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2060848"/>
            <a:ext cx="3121480" cy="273630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29" name="Espace réservé pour une image  3">
            <a:extLst>
              <a:ext uri="{FF2B5EF4-FFF2-40B4-BE49-F238E27FC236}">
                <a16:creationId xmlns:a16="http://schemas.microsoft.com/office/drawing/2014/main" id="{D5B047C5-121C-4653-820B-DD6B2F6EE10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2060848"/>
            <a:ext cx="3121480" cy="273630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1AD6EB8C-2615-4D88-8541-9EF352E77B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0" name="Espace réservé du numéro de diapositive 2">
            <a:extLst>
              <a:ext uri="{FF2B5EF4-FFF2-40B4-BE49-F238E27FC236}">
                <a16:creationId xmlns:a16="http://schemas.microsoft.com/office/drawing/2014/main" id="{D9D196F0-E493-49D2-9F1C-A192712DF1B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1DA3D5A4-C7A8-4D4E-87EB-5E1B7984273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C0063D2-D9CA-443F-8ADD-8084E6CAF0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559055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  <p15:guide id="6" pos="306">
          <p15:clr>
            <a:srgbClr val="FBAE40"/>
          </p15:clr>
        </p15:guide>
      </p15:sldGuideLst>
    </p:ext>
  </p:extLs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86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06C9BA4-2C1A-4C1C-ABBD-87F774202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4"/>
            <a:ext cx="2498984" cy="24989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4"/>
            <a:ext cx="2498984" cy="24989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4"/>
            <a:ext cx="2498984" cy="24989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3"/>
            <a:ext cx="3121480" cy="640175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3"/>
            <a:ext cx="3121480" cy="640175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3"/>
            <a:ext cx="3121480" cy="640175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9F68698D-F3B0-4788-AF4C-465233CDAD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C6A7D93F-558B-468A-BD97-4A324D31E45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D836BAF7-4960-44BE-976B-FA96BE235CD4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0FD6EC61-BEBC-4E54-BC44-9C1775E7065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258895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26B43"/>
          </p15:clr>
        </p15:guide>
        <p15:guide id="2" orient="horz" pos="613">
          <p15:clr>
            <a:srgbClr val="F26B43"/>
          </p15:clr>
        </p15:guide>
        <p15:guide id="3" pos="247">
          <p15:clr>
            <a:srgbClr val="F26B43"/>
          </p15:clr>
        </p15:guide>
        <p15:guide id="4" pos="7424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act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38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06C9BA4-2C1A-4C1C-ABBD-87F774202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4"/>
            <a:ext cx="2498984" cy="24989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4"/>
            <a:ext cx="2498984" cy="24989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4"/>
            <a:ext cx="2498984" cy="24989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3"/>
            <a:ext cx="3121480" cy="640175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3"/>
            <a:ext cx="3121480" cy="640175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3"/>
            <a:ext cx="3121480" cy="640175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655BB120-DEC8-4862-A749-F95DCFBBD8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884DC4C2-9D2C-4842-A411-C0331690990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80203216-1526-40D8-82F2-453F753FA3DB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2B73FA08-BEBA-4849-818A-CAA0CE59A66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7775810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26B43"/>
          </p15:clr>
        </p15:guide>
        <p15:guide id="2" orient="horz" pos="613">
          <p15:clr>
            <a:srgbClr val="F26B43"/>
          </p15:clr>
        </p15:guide>
        <p15:guide id="3" pos="247">
          <p15:clr>
            <a:srgbClr val="F26B43"/>
          </p15:clr>
        </p15:guide>
        <p15:guide id="4" pos="7424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A7272C5A-A11F-4DD3-BF54-F64C82B84D6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A59EA477-4D96-4C94-A268-87C2D94F085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2480462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06595BE-8670-4A5F-B6E3-C00B54377605}"/>
              </a:ext>
            </a:extLst>
          </p:cNvPr>
          <p:cNvSpPr/>
          <p:nvPr userDrawn="1"/>
        </p:nvSpPr>
        <p:spPr>
          <a:xfrm>
            <a:off x="-1" y="0"/>
            <a:ext cx="598798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Espace réservé du numéro de diapositive 2">
            <a:extLst>
              <a:ext uri="{FF2B5EF4-FFF2-40B4-BE49-F238E27FC236}">
                <a16:creationId xmlns:a16="http://schemas.microsoft.com/office/drawing/2014/main" id="{4E9F0883-33F3-4D62-A0A5-04FAA00189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7CE4141A-CB17-4D34-9EF4-654584A2F66C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</p:spTree>
    <p:extLst>
      <p:ext uri="{BB962C8B-B14F-4D97-AF65-F5344CB8AC3E}">
        <p14:creationId xmlns:p14="http://schemas.microsoft.com/office/powerpoint/2010/main" val="33985549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2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5" y="1808820"/>
            <a:ext cx="2667153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3309868" y="1808820"/>
            <a:ext cx="2667153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ACE61B7-02B5-4E0A-8D96-29AA5F2E9A0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214951" y="1808820"/>
            <a:ext cx="2667153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D0309A2-2C77-4A6B-86B6-B5D04081C276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9120035" y="1808820"/>
            <a:ext cx="2667153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74441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al on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49086DD-2C7D-4896-95DA-63FF2B90DC0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123892" y="0"/>
            <a:ext cx="7068108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/>
              <a:t> 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B52F0521-4D9F-4207-B1DF-7BCF176045C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0FDE419E-CB0C-43DC-A5A5-526480C8B10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40735215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8415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Image 8" descr="Une image contenant objet&#10;&#10;Description générée automatiquement">
            <a:extLst>
              <a:ext uri="{FF2B5EF4-FFF2-40B4-BE49-F238E27FC236}">
                <a16:creationId xmlns:a16="http://schemas.microsoft.com/office/drawing/2014/main" id="{7AB34238-B7E0-4612-92CE-C4989B35C0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pic>
        <p:nvPicPr>
          <p:cNvPr id="7" name="Graphique 12">
            <a:extLst>
              <a:ext uri="{FF2B5EF4-FFF2-40B4-BE49-F238E27FC236}">
                <a16:creationId xmlns:a16="http://schemas.microsoft.com/office/drawing/2014/main" id="{4A97E8AF-E7A3-48CB-93FA-FB7ABD189EE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7116606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39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C539E3ED-BDF3-459B-ADDB-C44E9D3916BA}"/>
              </a:ext>
            </a:extLst>
          </p:cNvPr>
          <p:cNvSpPr txBox="1"/>
          <p:nvPr userDrawn="1"/>
        </p:nvSpPr>
        <p:spPr>
          <a:xfrm>
            <a:off x="515380" y="944724"/>
            <a:ext cx="341632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200" b="1">
                <a:solidFill>
                  <a:schemeClr val="bg1"/>
                </a:solidFill>
                <a:latin typeface="+mn-lt"/>
              </a:rPr>
              <a:t>THANK</a:t>
            </a:r>
          </a:p>
        </p:txBody>
      </p:sp>
      <p:pic>
        <p:nvPicPr>
          <p:cNvPr id="14" name="Image 13" descr="Une image contenant objet&#10;&#10;Description générée automatiquement">
            <a:extLst>
              <a:ext uri="{FF2B5EF4-FFF2-40B4-BE49-F238E27FC236}">
                <a16:creationId xmlns:a16="http://schemas.microsoft.com/office/drawing/2014/main" id="{F8221D8A-EA7F-4431-BA65-C4F6154E89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20" name="ZoneTexte 19">
            <a:extLst>
              <a:ext uri="{FF2B5EF4-FFF2-40B4-BE49-F238E27FC236}">
                <a16:creationId xmlns:a16="http://schemas.microsoft.com/office/drawing/2014/main" id="{6EB9C8AA-305A-4586-B066-7FD90B345C8E}"/>
              </a:ext>
            </a:extLst>
          </p:cNvPr>
          <p:cNvSpPr txBox="1"/>
          <p:nvPr userDrawn="1"/>
        </p:nvSpPr>
        <p:spPr>
          <a:xfrm>
            <a:off x="613347" y="2014987"/>
            <a:ext cx="2628292" cy="1116124"/>
          </a:xfrm>
          <a:prstGeom prst="rect">
            <a:avLst/>
          </a:prstGeom>
          <a:solidFill>
            <a:schemeClr val="tx2"/>
          </a:solidFill>
        </p:spPr>
        <p:txBody>
          <a:bodyPr wrap="square" lIns="180000" rIns="180000" rtlCol="0">
            <a:noAutofit/>
          </a:bodyPr>
          <a:lstStyle/>
          <a:p>
            <a:pPr algn="ctr"/>
            <a:r>
              <a:rPr lang="fr-FR" sz="7200" b="1">
                <a:solidFill>
                  <a:schemeClr val="bg1"/>
                </a:solidFill>
                <a:latin typeface="+mn-lt"/>
              </a:rPr>
              <a:t>YOU</a:t>
            </a:r>
          </a:p>
        </p:txBody>
      </p:sp>
      <p:pic>
        <p:nvPicPr>
          <p:cNvPr id="9" name="Graphique 12">
            <a:extLst>
              <a:ext uri="{FF2B5EF4-FFF2-40B4-BE49-F238E27FC236}">
                <a16:creationId xmlns:a16="http://schemas.microsoft.com/office/drawing/2014/main" id="{179AD86B-4CB0-4369-A2E2-E512D4A8BC3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4518128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463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Image 13" descr="Une image contenant objet&#10;&#10;Description générée automatiquement">
            <a:extLst>
              <a:ext uri="{FF2B5EF4-FFF2-40B4-BE49-F238E27FC236}">
                <a16:creationId xmlns:a16="http://schemas.microsoft.com/office/drawing/2014/main" id="{99BF86A5-F0B8-42C9-A87E-16C8B6F680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F679F638-3664-4A3D-B3CC-1AE9AB09B32C}"/>
              </a:ext>
            </a:extLst>
          </p:cNvPr>
          <p:cNvSpPr/>
          <p:nvPr userDrawn="1"/>
        </p:nvSpPr>
        <p:spPr>
          <a:xfrm>
            <a:off x="613347" y="2022491"/>
            <a:ext cx="2628292" cy="1116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34" name="Groupe 33">
            <a:extLst>
              <a:ext uri="{FF2B5EF4-FFF2-40B4-BE49-F238E27FC236}">
                <a16:creationId xmlns:a16="http://schemas.microsoft.com/office/drawing/2014/main" id="{113FDBA7-5D27-421C-85B6-3FA82D4FF202}"/>
              </a:ext>
            </a:extLst>
          </p:cNvPr>
          <p:cNvGrpSpPr/>
          <p:nvPr userDrawn="1"/>
        </p:nvGrpSpPr>
        <p:grpSpPr>
          <a:xfrm>
            <a:off x="697167" y="1903445"/>
            <a:ext cx="2376783" cy="1354217"/>
            <a:chOff x="794460" y="1664804"/>
            <a:chExt cx="2376783" cy="1354217"/>
          </a:xfrm>
        </p:grpSpPr>
        <p:sp>
          <p:nvSpPr>
            <p:cNvPr id="36" name="TextBox 12">
              <a:extLst>
                <a:ext uri="{FF2B5EF4-FFF2-40B4-BE49-F238E27FC236}">
                  <a16:creationId xmlns:a16="http://schemas.microsoft.com/office/drawing/2014/main" id="{6DBE849B-11CF-4A64-8448-70B62EB6CF2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94460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>
                  <a:blipFill>
                    <a:blip r:embed="rId8"/>
                    <a:stretch>
                      <a:fillRect/>
                    </a:stretch>
                  </a:blipFill>
                </a:rPr>
                <a:t>Y</a:t>
              </a:r>
            </a:p>
          </p:txBody>
        </p:sp>
        <p:sp>
          <p:nvSpPr>
            <p:cNvPr id="37" name="TextBox 12">
              <a:extLst>
                <a:ext uri="{FF2B5EF4-FFF2-40B4-BE49-F238E27FC236}">
                  <a16:creationId xmlns:a16="http://schemas.microsoft.com/office/drawing/2014/main" id="{A243C84E-50CC-4C5F-B7D5-5A14645EA45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550687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>
                  <a:blipFill>
                    <a:blip r:embed="rId8"/>
                    <a:stretch>
                      <a:fillRect/>
                    </a:stretch>
                  </a:blipFill>
                </a:rPr>
                <a:t>O</a:t>
              </a:r>
            </a:p>
          </p:txBody>
        </p:sp>
        <p:sp>
          <p:nvSpPr>
            <p:cNvPr id="38" name="TextBox 12">
              <a:extLst>
                <a:ext uri="{FF2B5EF4-FFF2-40B4-BE49-F238E27FC236}">
                  <a16:creationId xmlns:a16="http://schemas.microsoft.com/office/drawing/2014/main" id="{4DE2360C-0138-43FB-88B6-A916D5FF6C0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356918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>
                  <a:blipFill>
                    <a:blip r:embed="rId8"/>
                    <a:stretch>
                      <a:fillRect/>
                    </a:stretch>
                  </a:blipFill>
                </a:rPr>
                <a:t>U</a:t>
              </a:r>
            </a:p>
          </p:txBody>
        </p:sp>
      </p:grpSp>
      <p:sp>
        <p:nvSpPr>
          <p:cNvPr id="40" name="ZoneTexte 39">
            <a:extLst>
              <a:ext uri="{FF2B5EF4-FFF2-40B4-BE49-F238E27FC236}">
                <a16:creationId xmlns:a16="http://schemas.microsoft.com/office/drawing/2014/main" id="{63612154-01AA-4A44-9626-0CEFBE31DD80}"/>
              </a:ext>
            </a:extLst>
          </p:cNvPr>
          <p:cNvSpPr txBox="1"/>
          <p:nvPr userDrawn="1"/>
        </p:nvSpPr>
        <p:spPr>
          <a:xfrm>
            <a:off x="515380" y="944724"/>
            <a:ext cx="341632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200" b="1">
                <a:solidFill>
                  <a:schemeClr val="bg1"/>
                </a:solidFill>
                <a:latin typeface="+mn-lt"/>
              </a:rPr>
              <a:t>THANK</a:t>
            </a:r>
          </a:p>
        </p:txBody>
      </p:sp>
      <p:pic>
        <p:nvPicPr>
          <p:cNvPr id="15" name="Graphique 12">
            <a:extLst>
              <a:ext uri="{FF2B5EF4-FFF2-40B4-BE49-F238E27FC236}">
                <a16:creationId xmlns:a16="http://schemas.microsoft.com/office/drawing/2014/main" id="{9A6E24CF-8D33-4CD9-8F42-13A4AED0D589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1642744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3 Columns with titles with divide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2369432" cy="341632"/>
          </a:xfrm>
        </p:spPr>
        <p:txBody>
          <a:bodyPr wrap="square" anchor="b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b="1" cap="none" spc="0" baseline="0">
                <a:solidFill>
                  <a:srgbClr val="405A9C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00127" y="2681220"/>
            <a:ext cx="2378845" cy="341632"/>
          </a:xfrm>
        </p:spPr>
        <p:txBody>
          <a:bodyPr wrap="square" anchor="b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b="1" cap="none" spc="0" baseline="0">
                <a:solidFill>
                  <a:srgbClr val="009D9C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3496" y="2681220"/>
            <a:ext cx="2378845" cy="341632"/>
          </a:xfrm>
        </p:spPr>
        <p:txBody>
          <a:bodyPr wrap="square" anchor="b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b="1" cap="none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2369432" cy="338554"/>
          </a:xfrm>
        </p:spPr>
        <p:txBody>
          <a:bodyPr wrap="square" anchor="t">
            <a:spAutoFit/>
          </a:bodyPr>
          <a:lstStyle>
            <a:lvl1pPr marL="0" indent="0" algn="ctr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00224" y="3172023"/>
            <a:ext cx="2378845" cy="338554"/>
          </a:xfrm>
        </p:spPr>
        <p:txBody>
          <a:bodyPr wrap="square" anchor="t">
            <a:spAutoFit/>
          </a:bodyPr>
          <a:lstStyle>
            <a:lvl1pPr marL="0" indent="0" algn="ctr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14561" y="3172023"/>
            <a:ext cx="2378845" cy="338554"/>
          </a:xfrm>
        </p:spPr>
        <p:txBody>
          <a:bodyPr wrap="square" anchor="t">
            <a:spAutoFit/>
          </a:bodyPr>
          <a:lstStyle>
            <a:lvl1pPr marL="0" indent="0" algn="ctr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>
                <a:solidFill>
                  <a:srgbClr val="405A9C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4" name="Espace réservé du texte 7">
            <a:extLst>
              <a:ext uri="{FF2B5EF4-FFF2-40B4-BE49-F238E27FC236}">
                <a16:creationId xmlns:a16="http://schemas.microsoft.com/office/drawing/2014/main" id="{624A4EFE-22DE-3F4E-8D93-3A900457C16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228898" y="2681220"/>
            <a:ext cx="2378845" cy="341632"/>
          </a:xfrm>
        </p:spPr>
        <p:txBody>
          <a:bodyPr wrap="square" anchor="b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b="1" cap="none" spc="0" baseline="0">
                <a:solidFill>
                  <a:schemeClr val="accent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5" name="Espace réservé du texte 7">
            <a:extLst>
              <a:ext uri="{FF2B5EF4-FFF2-40B4-BE49-F238E27FC236}">
                <a16:creationId xmlns:a16="http://schemas.microsoft.com/office/drawing/2014/main" id="{3833E815-EC35-3A4C-AB2A-3D443ADB8C1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28898" y="3172023"/>
            <a:ext cx="2378845" cy="338554"/>
          </a:xfrm>
        </p:spPr>
        <p:txBody>
          <a:bodyPr wrap="square" anchor="t">
            <a:spAutoFit/>
          </a:bodyPr>
          <a:lstStyle>
            <a:lvl1pPr marL="0" indent="0" algn="ctr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352D7038-A9E5-2B49-A4D1-78B421CFD65F}"/>
              </a:ext>
            </a:extLst>
          </p:cNvPr>
          <p:cNvCxnSpPr>
            <a:cxnSpLocks/>
          </p:cNvCxnSpPr>
          <p:nvPr userDrawn="1"/>
        </p:nvCxnSpPr>
        <p:spPr>
          <a:xfrm flipV="1">
            <a:off x="3132478" y="1808820"/>
            <a:ext cx="0" cy="386808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01627DF0-94A2-2D43-BA33-AC926385337A}"/>
              </a:ext>
            </a:extLst>
          </p:cNvPr>
          <p:cNvCxnSpPr>
            <a:cxnSpLocks/>
          </p:cNvCxnSpPr>
          <p:nvPr userDrawn="1"/>
        </p:nvCxnSpPr>
        <p:spPr>
          <a:xfrm flipV="1">
            <a:off x="6046815" y="1808820"/>
            <a:ext cx="0" cy="386808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C55AA76E-1EB0-5745-B2F8-D674E752B333}"/>
              </a:ext>
            </a:extLst>
          </p:cNvPr>
          <p:cNvCxnSpPr>
            <a:cxnSpLocks/>
          </p:cNvCxnSpPr>
          <p:nvPr userDrawn="1"/>
        </p:nvCxnSpPr>
        <p:spPr>
          <a:xfrm flipV="1">
            <a:off x="8961152" y="1808820"/>
            <a:ext cx="0" cy="386808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D74D781-73EF-B94E-93A4-558CAF979D76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93167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2">
          <p15:clr>
            <a:srgbClr val="FBAE40"/>
          </p15:clr>
        </p15:guide>
      </p15:sldGuideLst>
    </p:ext>
  </p:extLs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O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330201" y="1851257"/>
            <a:ext cx="10493855" cy="3524011"/>
          </a:xfrm>
        </p:spPr>
        <p:txBody>
          <a:bodyPr/>
          <a:lstStyle>
            <a:lvl1pPr>
              <a:defRPr cap="none" baseline="0">
                <a:solidFill>
                  <a:schemeClr val="tx1"/>
                </a:solidFill>
              </a:defRPr>
            </a:lvl1pPr>
            <a:lvl2pPr>
              <a:defRPr cap="none" baseline="0">
                <a:solidFill>
                  <a:schemeClr val="tx1"/>
                </a:solidFill>
              </a:defRPr>
            </a:lvl2pPr>
            <a:lvl3pPr>
              <a:defRPr cap="none" baseline="0">
                <a:solidFill>
                  <a:schemeClr val="tx1"/>
                </a:solidFill>
              </a:defRPr>
            </a:lvl3pPr>
            <a:lvl4pPr>
              <a:defRPr cap="none" baseline="0">
                <a:solidFill>
                  <a:schemeClr val="tx1"/>
                </a:solidFill>
              </a:defRPr>
            </a:lvl4pPr>
            <a:lvl5pPr>
              <a:defRPr cap="none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2001" y="331098"/>
            <a:ext cx="8957556" cy="1121783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sz="3600" b="1" cap="none" dirty="0"/>
            </a:lvl1pPr>
          </a:lstStyle>
          <a:p>
            <a:pPr lvl="0">
              <a:spcBef>
                <a:spcPts val="0"/>
              </a:spcBef>
              <a:spcAft>
                <a:spcPts val="0"/>
              </a:spcAft>
            </a:pPr>
            <a:r>
              <a:rPr lang="en-US"/>
              <a:t>CLICK TO ADD TAG LINE OR BEGINNING OF TITLE</a:t>
            </a:r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C4585CF-C51C-4808-9E65-C9C61B25D9A4}"/>
              </a:ext>
            </a:extLst>
          </p:cNvPr>
          <p:cNvSpPr/>
          <p:nvPr userDrawn="1"/>
        </p:nvSpPr>
        <p:spPr bwMode="auto">
          <a:xfrm>
            <a:off x="9715500" y="131885"/>
            <a:ext cx="2206869" cy="7737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22222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246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fade/>
      </p:transition>
    </mc:Choice>
    <mc:Fallback xmlns="">
      <p:transition spd="slow">
        <p:fade/>
      </p:transition>
    </mc:Fallback>
  </mc:AlternateConten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2306FF-869C-4143-A350-22B3A646F1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Espace réservé du numéro de diapositive 1">
            <a:extLst>
              <a:ext uri="{FF2B5EF4-FFF2-40B4-BE49-F238E27FC236}">
                <a16:creationId xmlns:a16="http://schemas.microsoft.com/office/drawing/2014/main" id="{286399D4-6FB5-6A4F-A284-0E4AF7D0D49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2465687686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6">
            <a:extLst>
              <a:ext uri="{FF2B5EF4-FFF2-40B4-BE49-F238E27FC236}">
                <a16:creationId xmlns:a16="http://schemas.microsoft.com/office/drawing/2014/main" id="{5132F7CD-9EDC-A34B-A840-EC3AE9EC0E8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"/>
            <a:ext cx="12191999" cy="6857999"/>
          </a:xfrm>
          <a:prstGeom prst="roundRect">
            <a:avLst>
              <a:gd name="adj" fmla="val 0"/>
            </a:avLst>
          </a:prstGeom>
        </p:spPr>
        <p:txBody>
          <a:bodyPr/>
          <a:lstStyle/>
          <a:p>
            <a:r>
              <a:rPr lang="en-US"/>
              <a:t>Insert image here</a:t>
            </a:r>
          </a:p>
        </p:txBody>
      </p:sp>
      <p:sp>
        <p:nvSpPr>
          <p:cNvPr id="3" name="Espace réservé du numéro de diapositive 1">
            <a:extLst>
              <a:ext uri="{FF2B5EF4-FFF2-40B4-BE49-F238E27FC236}">
                <a16:creationId xmlns:a16="http://schemas.microsoft.com/office/drawing/2014/main" id="{546B1BC1-FAC1-CA45-9DD4-2FAF1D2A49C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382932" y="6219234"/>
            <a:ext cx="360037" cy="365125"/>
          </a:xfrm>
        </p:spPr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3936859406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Placeholder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/>
          <p:cNvSpPr>
            <a:spLocks noGrp="1"/>
          </p:cNvSpPr>
          <p:nvPr>
            <p:ph type="pic" sz="quarter" idx="11"/>
          </p:nvPr>
        </p:nvSpPr>
        <p:spPr>
          <a:xfrm>
            <a:off x="3058791" y="0"/>
            <a:ext cx="3010990" cy="2088112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1400"/>
            </a:lvl1pPr>
          </a:lstStyle>
          <a:p>
            <a:pPr lvl="0"/>
            <a:endParaRPr lang="en-US" noProof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2140989"/>
            <a:ext cx="3010990" cy="2088112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1400"/>
            </a:lvl1pPr>
          </a:lstStyle>
          <a:p>
            <a:pPr lvl="0"/>
            <a:endParaRPr lang="en-US" noProof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9178691" y="0"/>
            <a:ext cx="3013309" cy="2088112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1400"/>
            </a:lvl1pPr>
          </a:lstStyle>
          <a:p>
            <a:pPr lvl="0"/>
            <a:endParaRPr lang="en-US" noProof="0"/>
          </a:p>
        </p:txBody>
      </p:sp>
      <p:sp>
        <p:nvSpPr>
          <p:cNvPr id="12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117582" y="2159081"/>
            <a:ext cx="3010990" cy="2070020"/>
          </a:xfr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>
            <a:lvl1pPr>
              <a:defRPr sz="1400"/>
            </a:lvl1pPr>
          </a:lstStyle>
          <a:p>
            <a:pPr lvl="0"/>
            <a:endParaRPr lang="en-US" noProof="0"/>
          </a:p>
        </p:txBody>
      </p:sp>
      <p:sp>
        <p:nvSpPr>
          <p:cNvPr id="7" name="Espace réservé du numéro de diapositive 1">
            <a:extLst>
              <a:ext uri="{FF2B5EF4-FFF2-40B4-BE49-F238E27FC236}">
                <a16:creationId xmlns:a16="http://schemas.microsoft.com/office/drawing/2014/main" id="{8E367B53-674A-3941-8CE1-EEE51A03389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rgbClr val="405A9C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3398689473"/>
      </p:ext>
    </p:extLst>
  </p:cSld>
  <p:clrMapOvr>
    <a:masterClrMapping/>
  </p:clrMapOvr>
  <p:transition/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1338784" y="1050717"/>
            <a:ext cx="2275383" cy="4907833"/>
          </a:xfrm>
          <a:custGeom>
            <a:avLst/>
            <a:gdLst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9255583 w 10303329"/>
              <a:gd name="connsiteY2" fmla="*/ 0 h 22223186"/>
              <a:gd name="connsiteX3" fmla="*/ 10303329 w 10303329"/>
              <a:gd name="connsiteY3" fmla="*/ 1047746 h 22223186"/>
              <a:gd name="connsiteX4" fmla="*/ 10303329 w 10303329"/>
              <a:gd name="connsiteY4" fmla="*/ 21175440 h 22223186"/>
              <a:gd name="connsiteX5" fmla="*/ 9255583 w 10303329"/>
              <a:gd name="connsiteY5" fmla="*/ 22223186 h 22223186"/>
              <a:gd name="connsiteX6" fmla="*/ 1047746 w 10303329"/>
              <a:gd name="connsiteY6" fmla="*/ 22223186 h 22223186"/>
              <a:gd name="connsiteX7" fmla="*/ 0 w 10303329"/>
              <a:gd name="connsiteY7" fmla="*/ 21175440 h 22223186"/>
              <a:gd name="connsiteX8" fmla="*/ 0 w 10303329"/>
              <a:gd name="connsiteY8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645229 w 10303329"/>
              <a:gd name="connsiteY2" fmla="*/ 16328 h 22223186"/>
              <a:gd name="connsiteX3" fmla="*/ 9255583 w 10303329"/>
              <a:gd name="connsiteY3" fmla="*/ 0 h 22223186"/>
              <a:gd name="connsiteX4" fmla="*/ 10303329 w 10303329"/>
              <a:gd name="connsiteY4" fmla="*/ 1047746 h 22223186"/>
              <a:gd name="connsiteX5" fmla="*/ 10303329 w 10303329"/>
              <a:gd name="connsiteY5" fmla="*/ 21175440 h 22223186"/>
              <a:gd name="connsiteX6" fmla="*/ 9255583 w 10303329"/>
              <a:gd name="connsiteY6" fmla="*/ 22223186 h 22223186"/>
              <a:gd name="connsiteX7" fmla="*/ 1047746 w 10303329"/>
              <a:gd name="connsiteY7" fmla="*/ 22223186 h 22223186"/>
              <a:gd name="connsiteX8" fmla="*/ 0 w 10303329"/>
              <a:gd name="connsiteY8" fmla="*/ 21175440 h 22223186"/>
              <a:gd name="connsiteX9" fmla="*/ 0 w 10303329"/>
              <a:gd name="connsiteY9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645229 w 10303329"/>
              <a:gd name="connsiteY2" fmla="*/ 16328 h 22223186"/>
              <a:gd name="connsiteX3" fmla="*/ 7805057 w 10303329"/>
              <a:gd name="connsiteY3" fmla="*/ 32657 h 22223186"/>
              <a:gd name="connsiteX4" fmla="*/ 9255583 w 10303329"/>
              <a:gd name="connsiteY4" fmla="*/ 0 h 22223186"/>
              <a:gd name="connsiteX5" fmla="*/ 10303329 w 10303329"/>
              <a:gd name="connsiteY5" fmla="*/ 1047746 h 22223186"/>
              <a:gd name="connsiteX6" fmla="*/ 10303329 w 10303329"/>
              <a:gd name="connsiteY6" fmla="*/ 21175440 h 22223186"/>
              <a:gd name="connsiteX7" fmla="*/ 9255583 w 10303329"/>
              <a:gd name="connsiteY7" fmla="*/ 22223186 h 22223186"/>
              <a:gd name="connsiteX8" fmla="*/ 1047746 w 10303329"/>
              <a:gd name="connsiteY8" fmla="*/ 22223186 h 22223186"/>
              <a:gd name="connsiteX9" fmla="*/ 0 w 10303329"/>
              <a:gd name="connsiteY9" fmla="*/ 21175440 h 22223186"/>
              <a:gd name="connsiteX10" fmla="*/ 0 w 10303329"/>
              <a:gd name="connsiteY10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759529 w 10303329"/>
              <a:gd name="connsiteY2" fmla="*/ 865413 h 22223186"/>
              <a:gd name="connsiteX3" fmla="*/ 7805057 w 10303329"/>
              <a:gd name="connsiteY3" fmla="*/ 32657 h 22223186"/>
              <a:gd name="connsiteX4" fmla="*/ 9255583 w 10303329"/>
              <a:gd name="connsiteY4" fmla="*/ 0 h 22223186"/>
              <a:gd name="connsiteX5" fmla="*/ 10303329 w 10303329"/>
              <a:gd name="connsiteY5" fmla="*/ 1047746 h 22223186"/>
              <a:gd name="connsiteX6" fmla="*/ 10303329 w 10303329"/>
              <a:gd name="connsiteY6" fmla="*/ 21175440 h 22223186"/>
              <a:gd name="connsiteX7" fmla="*/ 9255583 w 10303329"/>
              <a:gd name="connsiteY7" fmla="*/ 22223186 h 22223186"/>
              <a:gd name="connsiteX8" fmla="*/ 1047746 w 10303329"/>
              <a:gd name="connsiteY8" fmla="*/ 22223186 h 22223186"/>
              <a:gd name="connsiteX9" fmla="*/ 0 w 10303329"/>
              <a:gd name="connsiteY9" fmla="*/ 21175440 h 22223186"/>
              <a:gd name="connsiteX10" fmla="*/ 0 w 10303329"/>
              <a:gd name="connsiteY10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759529 w 10303329"/>
              <a:gd name="connsiteY2" fmla="*/ 865413 h 22223186"/>
              <a:gd name="connsiteX3" fmla="*/ 7331528 w 10303329"/>
              <a:gd name="connsiteY3" fmla="*/ 832757 h 22223186"/>
              <a:gd name="connsiteX4" fmla="*/ 9255583 w 10303329"/>
              <a:gd name="connsiteY4" fmla="*/ 0 h 22223186"/>
              <a:gd name="connsiteX5" fmla="*/ 10303329 w 10303329"/>
              <a:gd name="connsiteY5" fmla="*/ 1047746 h 22223186"/>
              <a:gd name="connsiteX6" fmla="*/ 10303329 w 10303329"/>
              <a:gd name="connsiteY6" fmla="*/ 21175440 h 22223186"/>
              <a:gd name="connsiteX7" fmla="*/ 9255583 w 10303329"/>
              <a:gd name="connsiteY7" fmla="*/ 22223186 h 22223186"/>
              <a:gd name="connsiteX8" fmla="*/ 1047746 w 10303329"/>
              <a:gd name="connsiteY8" fmla="*/ 22223186 h 22223186"/>
              <a:gd name="connsiteX9" fmla="*/ 0 w 10303329"/>
              <a:gd name="connsiteY9" fmla="*/ 21175440 h 22223186"/>
              <a:gd name="connsiteX10" fmla="*/ 0 w 10303329"/>
              <a:gd name="connsiteY10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1496522 w 10303329"/>
              <a:gd name="connsiteY2" fmla="*/ 222417 h 22223186"/>
              <a:gd name="connsiteX3" fmla="*/ 2759529 w 10303329"/>
              <a:gd name="connsiteY3" fmla="*/ 865413 h 22223186"/>
              <a:gd name="connsiteX4" fmla="*/ 7331528 w 10303329"/>
              <a:gd name="connsiteY4" fmla="*/ 832757 h 22223186"/>
              <a:gd name="connsiteX5" fmla="*/ 9255583 w 10303329"/>
              <a:gd name="connsiteY5" fmla="*/ 0 h 22223186"/>
              <a:gd name="connsiteX6" fmla="*/ 10303329 w 10303329"/>
              <a:gd name="connsiteY6" fmla="*/ 1047746 h 22223186"/>
              <a:gd name="connsiteX7" fmla="*/ 10303329 w 10303329"/>
              <a:gd name="connsiteY7" fmla="*/ 21175440 h 22223186"/>
              <a:gd name="connsiteX8" fmla="*/ 9255583 w 10303329"/>
              <a:gd name="connsiteY8" fmla="*/ 22223186 h 22223186"/>
              <a:gd name="connsiteX9" fmla="*/ 1047746 w 10303329"/>
              <a:gd name="connsiteY9" fmla="*/ 22223186 h 22223186"/>
              <a:gd name="connsiteX10" fmla="*/ 0 w 10303329"/>
              <a:gd name="connsiteY10" fmla="*/ 21175440 h 22223186"/>
              <a:gd name="connsiteX11" fmla="*/ 0 w 10303329"/>
              <a:gd name="connsiteY11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759529 w 10303329"/>
              <a:gd name="connsiteY3" fmla="*/ 865413 h 22223186"/>
              <a:gd name="connsiteX4" fmla="*/ 7331528 w 10303329"/>
              <a:gd name="connsiteY4" fmla="*/ 832757 h 22223186"/>
              <a:gd name="connsiteX5" fmla="*/ 9255583 w 10303329"/>
              <a:gd name="connsiteY5" fmla="*/ 0 h 22223186"/>
              <a:gd name="connsiteX6" fmla="*/ 10303329 w 10303329"/>
              <a:gd name="connsiteY6" fmla="*/ 1047746 h 22223186"/>
              <a:gd name="connsiteX7" fmla="*/ 10303329 w 10303329"/>
              <a:gd name="connsiteY7" fmla="*/ 21175440 h 22223186"/>
              <a:gd name="connsiteX8" fmla="*/ 9255583 w 10303329"/>
              <a:gd name="connsiteY8" fmla="*/ 22223186 h 22223186"/>
              <a:gd name="connsiteX9" fmla="*/ 1047746 w 10303329"/>
              <a:gd name="connsiteY9" fmla="*/ 22223186 h 22223186"/>
              <a:gd name="connsiteX10" fmla="*/ 0 w 10303329"/>
              <a:gd name="connsiteY10" fmla="*/ 21175440 h 22223186"/>
              <a:gd name="connsiteX11" fmla="*/ 0 w 10303329"/>
              <a:gd name="connsiteY11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464188 w 10303329"/>
              <a:gd name="connsiteY3" fmla="*/ 417726 h 22223186"/>
              <a:gd name="connsiteX4" fmla="*/ 2759529 w 10303329"/>
              <a:gd name="connsiteY4" fmla="*/ 865413 h 22223186"/>
              <a:gd name="connsiteX5" fmla="*/ 7331528 w 10303329"/>
              <a:gd name="connsiteY5" fmla="*/ 832757 h 22223186"/>
              <a:gd name="connsiteX6" fmla="*/ 9255583 w 10303329"/>
              <a:gd name="connsiteY6" fmla="*/ 0 h 22223186"/>
              <a:gd name="connsiteX7" fmla="*/ 10303329 w 10303329"/>
              <a:gd name="connsiteY7" fmla="*/ 1047746 h 22223186"/>
              <a:gd name="connsiteX8" fmla="*/ 10303329 w 10303329"/>
              <a:gd name="connsiteY8" fmla="*/ 21175440 h 22223186"/>
              <a:gd name="connsiteX9" fmla="*/ 9255583 w 10303329"/>
              <a:gd name="connsiteY9" fmla="*/ 22223186 h 22223186"/>
              <a:gd name="connsiteX10" fmla="*/ 1047746 w 10303329"/>
              <a:gd name="connsiteY10" fmla="*/ 22223186 h 22223186"/>
              <a:gd name="connsiteX11" fmla="*/ 0 w 10303329"/>
              <a:gd name="connsiteY11" fmla="*/ 21175440 h 22223186"/>
              <a:gd name="connsiteX12" fmla="*/ 0 w 10303329"/>
              <a:gd name="connsiteY12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57656 w 10303329"/>
              <a:gd name="connsiteY3" fmla="*/ 586402 h 22223186"/>
              <a:gd name="connsiteX4" fmla="*/ 2759529 w 10303329"/>
              <a:gd name="connsiteY4" fmla="*/ 865413 h 22223186"/>
              <a:gd name="connsiteX5" fmla="*/ 7331528 w 10303329"/>
              <a:gd name="connsiteY5" fmla="*/ 832757 h 22223186"/>
              <a:gd name="connsiteX6" fmla="*/ 9255583 w 10303329"/>
              <a:gd name="connsiteY6" fmla="*/ 0 h 22223186"/>
              <a:gd name="connsiteX7" fmla="*/ 10303329 w 10303329"/>
              <a:gd name="connsiteY7" fmla="*/ 1047746 h 22223186"/>
              <a:gd name="connsiteX8" fmla="*/ 10303329 w 10303329"/>
              <a:gd name="connsiteY8" fmla="*/ 21175440 h 22223186"/>
              <a:gd name="connsiteX9" fmla="*/ 9255583 w 10303329"/>
              <a:gd name="connsiteY9" fmla="*/ 22223186 h 22223186"/>
              <a:gd name="connsiteX10" fmla="*/ 1047746 w 10303329"/>
              <a:gd name="connsiteY10" fmla="*/ 22223186 h 22223186"/>
              <a:gd name="connsiteX11" fmla="*/ 0 w 10303329"/>
              <a:gd name="connsiteY11" fmla="*/ 21175440 h 22223186"/>
              <a:gd name="connsiteX12" fmla="*/ 0 w 10303329"/>
              <a:gd name="connsiteY12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57656 w 10303329"/>
              <a:gd name="connsiteY3" fmla="*/ 586402 h 22223186"/>
              <a:gd name="connsiteX4" fmla="*/ 2759529 w 10303329"/>
              <a:gd name="connsiteY4" fmla="*/ 865413 h 22223186"/>
              <a:gd name="connsiteX5" fmla="*/ 7331528 w 10303329"/>
              <a:gd name="connsiteY5" fmla="*/ 832757 h 22223186"/>
              <a:gd name="connsiteX6" fmla="*/ 9255583 w 10303329"/>
              <a:gd name="connsiteY6" fmla="*/ 0 h 22223186"/>
              <a:gd name="connsiteX7" fmla="*/ 10303329 w 10303329"/>
              <a:gd name="connsiteY7" fmla="*/ 1047746 h 22223186"/>
              <a:gd name="connsiteX8" fmla="*/ 10303329 w 10303329"/>
              <a:gd name="connsiteY8" fmla="*/ 21175440 h 22223186"/>
              <a:gd name="connsiteX9" fmla="*/ 9255583 w 10303329"/>
              <a:gd name="connsiteY9" fmla="*/ 22223186 h 22223186"/>
              <a:gd name="connsiteX10" fmla="*/ 1047746 w 10303329"/>
              <a:gd name="connsiteY10" fmla="*/ 22223186 h 22223186"/>
              <a:gd name="connsiteX11" fmla="*/ 0 w 10303329"/>
              <a:gd name="connsiteY11" fmla="*/ 21175440 h 22223186"/>
              <a:gd name="connsiteX12" fmla="*/ 0 w 10303329"/>
              <a:gd name="connsiteY12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57656 w 10303329"/>
              <a:gd name="connsiteY3" fmla="*/ 586402 h 22223186"/>
              <a:gd name="connsiteX4" fmla="*/ 2759529 w 10303329"/>
              <a:gd name="connsiteY4" fmla="*/ 865413 h 22223186"/>
              <a:gd name="connsiteX5" fmla="*/ 7331528 w 10303329"/>
              <a:gd name="connsiteY5" fmla="*/ 832757 h 22223186"/>
              <a:gd name="connsiteX6" fmla="*/ 9255583 w 10303329"/>
              <a:gd name="connsiteY6" fmla="*/ 0 h 22223186"/>
              <a:gd name="connsiteX7" fmla="*/ 10303329 w 10303329"/>
              <a:gd name="connsiteY7" fmla="*/ 1047746 h 22223186"/>
              <a:gd name="connsiteX8" fmla="*/ 10303329 w 10303329"/>
              <a:gd name="connsiteY8" fmla="*/ 21175440 h 22223186"/>
              <a:gd name="connsiteX9" fmla="*/ 9255583 w 10303329"/>
              <a:gd name="connsiteY9" fmla="*/ 22223186 h 22223186"/>
              <a:gd name="connsiteX10" fmla="*/ 1047746 w 10303329"/>
              <a:gd name="connsiteY10" fmla="*/ 22223186 h 22223186"/>
              <a:gd name="connsiteX11" fmla="*/ 0 w 10303329"/>
              <a:gd name="connsiteY11" fmla="*/ 21175440 h 22223186"/>
              <a:gd name="connsiteX12" fmla="*/ 0 w 10303329"/>
              <a:gd name="connsiteY12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57656 w 10303329"/>
              <a:gd name="connsiteY3" fmla="*/ 586402 h 22223186"/>
              <a:gd name="connsiteX4" fmla="*/ 2759529 w 10303329"/>
              <a:gd name="connsiteY4" fmla="*/ 865413 h 22223186"/>
              <a:gd name="connsiteX5" fmla="*/ 7331528 w 10303329"/>
              <a:gd name="connsiteY5" fmla="*/ 832757 h 22223186"/>
              <a:gd name="connsiteX6" fmla="*/ 9255583 w 10303329"/>
              <a:gd name="connsiteY6" fmla="*/ 0 h 22223186"/>
              <a:gd name="connsiteX7" fmla="*/ 10303329 w 10303329"/>
              <a:gd name="connsiteY7" fmla="*/ 1047746 h 22223186"/>
              <a:gd name="connsiteX8" fmla="*/ 10303329 w 10303329"/>
              <a:gd name="connsiteY8" fmla="*/ 21175440 h 22223186"/>
              <a:gd name="connsiteX9" fmla="*/ 9255583 w 10303329"/>
              <a:gd name="connsiteY9" fmla="*/ 22223186 h 22223186"/>
              <a:gd name="connsiteX10" fmla="*/ 1047746 w 10303329"/>
              <a:gd name="connsiteY10" fmla="*/ 22223186 h 22223186"/>
              <a:gd name="connsiteX11" fmla="*/ 0 w 10303329"/>
              <a:gd name="connsiteY11" fmla="*/ 21175440 h 22223186"/>
              <a:gd name="connsiteX12" fmla="*/ 0 w 10303329"/>
              <a:gd name="connsiteY12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57656 w 10303329"/>
              <a:gd name="connsiteY3" fmla="*/ 586402 h 22223186"/>
              <a:gd name="connsiteX4" fmla="*/ 2759529 w 10303329"/>
              <a:gd name="connsiteY4" fmla="*/ 865413 h 22223186"/>
              <a:gd name="connsiteX5" fmla="*/ 7331528 w 10303329"/>
              <a:gd name="connsiteY5" fmla="*/ 832757 h 22223186"/>
              <a:gd name="connsiteX6" fmla="*/ 9255583 w 10303329"/>
              <a:gd name="connsiteY6" fmla="*/ 0 h 22223186"/>
              <a:gd name="connsiteX7" fmla="*/ 10303329 w 10303329"/>
              <a:gd name="connsiteY7" fmla="*/ 1047746 h 22223186"/>
              <a:gd name="connsiteX8" fmla="*/ 10303329 w 10303329"/>
              <a:gd name="connsiteY8" fmla="*/ 21175440 h 22223186"/>
              <a:gd name="connsiteX9" fmla="*/ 9255583 w 10303329"/>
              <a:gd name="connsiteY9" fmla="*/ 22223186 h 22223186"/>
              <a:gd name="connsiteX10" fmla="*/ 1047746 w 10303329"/>
              <a:gd name="connsiteY10" fmla="*/ 22223186 h 22223186"/>
              <a:gd name="connsiteX11" fmla="*/ 0 w 10303329"/>
              <a:gd name="connsiteY11" fmla="*/ 21175440 h 22223186"/>
              <a:gd name="connsiteX12" fmla="*/ 0 w 10303329"/>
              <a:gd name="connsiteY12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57656 w 10303329"/>
              <a:gd name="connsiteY3" fmla="*/ 586402 h 22223186"/>
              <a:gd name="connsiteX4" fmla="*/ 2751365 w 10303329"/>
              <a:gd name="connsiteY4" fmla="*/ 857248 h 22223186"/>
              <a:gd name="connsiteX5" fmla="*/ 7331528 w 10303329"/>
              <a:gd name="connsiteY5" fmla="*/ 832757 h 22223186"/>
              <a:gd name="connsiteX6" fmla="*/ 9255583 w 10303329"/>
              <a:gd name="connsiteY6" fmla="*/ 0 h 22223186"/>
              <a:gd name="connsiteX7" fmla="*/ 10303329 w 10303329"/>
              <a:gd name="connsiteY7" fmla="*/ 1047746 h 22223186"/>
              <a:gd name="connsiteX8" fmla="*/ 10303329 w 10303329"/>
              <a:gd name="connsiteY8" fmla="*/ 21175440 h 22223186"/>
              <a:gd name="connsiteX9" fmla="*/ 9255583 w 10303329"/>
              <a:gd name="connsiteY9" fmla="*/ 22223186 h 22223186"/>
              <a:gd name="connsiteX10" fmla="*/ 1047746 w 10303329"/>
              <a:gd name="connsiteY10" fmla="*/ 22223186 h 22223186"/>
              <a:gd name="connsiteX11" fmla="*/ 0 w 10303329"/>
              <a:gd name="connsiteY11" fmla="*/ 21175440 h 22223186"/>
              <a:gd name="connsiteX12" fmla="*/ 0 w 10303329"/>
              <a:gd name="connsiteY12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57656 w 10303329"/>
              <a:gd name="connsiteY3" fmla="*/ 586402 h 22223186"/>
              <a:gd name="connsiteX4" fmla="*/ 2751365 w 10303329"/>
              <a:gd name="connsiteY4" fmla="*/ 857248 h 22223186"/>
              <a:gd name="connsiteX5" fmla="*/ 7331528 w 10303329"/>
              <a:gd name="connsiteY5" fmla="*/ 832757 h 22223186"/>
              <a:gd name="connsiteX6" fmla="*/ 9255583 w 10303329"/>
              <a:gd name="connsiteY6" fmla="*/ 0 h 22223186"/>
              <a:gd name="connsiteX7" fmla="*/ 10303329 w 10303329"/>
              <a:gd name="connsiteY7" fmla="*/ 1047746 h 22223186"/>
              <a:gd name="connsiteX8" fmla="*/ 10303329 w 10303329"/>
              <a:gd name="connsiteY8" fmla="*/ 21175440 h 22223186"/>
              <a:gd name="connsiteX9" fmla="*/ 9255583 w 10303329"/>
              <a:gd name="connsiteY9" fmla="*/ 22223186 h 22223186"/>
              <a:gd name="connsiteX10" fmla="*/ 1047746 w 10303329"/>
              <a:gd name="connsiteY10" fmla="*/ 22223186 h 22223186"/>
              <a:gd name="connsiteX11" fmla="*/ 0 w 10303329"/>
              <a:gd name="connsiteY11" fmla="*/ 21175440 h 22223186"/>
              <a:gd name="connsiteX12" fmla="*/ 0 w 10303329"/>
              <a:gd name="connsiteY12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57656 w 10303329"/>
              <a:gd name="connsiteY3" fmla="*/ 586402 h 22223186"/>
              <a:gd name="connsiteX4" fmla="*/ 2751365 w 10303329"/>
              <a:gd name="connsiteY4" fmla="*/ 857248 h 22223186"/>
              <a:gd name="connsiteX5" fmla="*/ 7331528 w 10303329"/>
              <a:gd name="connsiteY5" fmla="*/ 832757 h 22223186"/>
              <a:gd name="connsiteX6" fmla="*/ 9255583 w 10303329"/>
              <a:gd name="connsiteY6" fmla="*/ 0 h 22223186"/>
              <a:gd name="connsiteX7" fmla="*/ 10303329 w 10303329"/>
              <a:gd name="connsiteY7" fmla="*/ 1047746 h 22223186"/>
              <a:gd name="connsiteX8" fmla="*/ 10303329 w 10303329"/>
              <a:gd name="connsiteY8" fmla="*/ 21175440 h 22223186"/>
              <a:gd name="connsiteX9" fmla="*/ 9255583 w 10303329"/>
              <a:gd name="connsiteY9" fmla="*/ 22223186 h 22223186"/>
              <a:gd name="connsiteX10" fmla="*/ 1047746 w 10303329"/>
              <a:gd name="connsiteY10" fmla="*/ 22223186 h 22223186"/>
              <a:gd name="connsiteX11" fmla="*/ 0 w 10303329"/>
              <a:gd name="connsiteY11" fmla="*/ 21175440 h 22223186"/>
              <a:gd name="connsiteX12" fmla="*/ 0 w 10303329"/>
              <a:gd name="connsiteY12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57656 w 10303329"/>
              <a:gd name="connsiteY3" fmla="*/ 586402 h 22223186"/>
              <a:gd name="connsiteX4" fmla="*/ 2751365 w 10303329"/>
              <a:gd name="connsiteY4" fmla="*/ 857248 h 22223186"/>
              <a:gd name="connsiteX5" fmla="*/ 7331528 w 10303329"/>
              <a:gd name="connsiteY5" fmla="*/ 832757 h 22223186"/>
              <a:gd name="connsiteX6" fmla="*/ 9255583 w 10303329"/>
              <a:gd name="connsiteY6" fmla="*/ 0 h 22223186"/>
              <a:gd name="connsiteX7" fmla="*/ 10303329 w 10303329"/>
              <a:gd name="connsiteY7" fmla="*/ 1047746 h 22223186"/>
              <a:gd name="connsiteX8" fmla="*/ 10303329 w 10303329"/>
              <a:gd name="connsiteY8" fmla="*/ 21175440 h 22223186"/>
              <a:gd name="connsiteX9" fmla="*/ 9255583 w 10303329"/>
              <a:gd name="connsiteY9" fmla="*/ 22223186 h 22223186"/>
              <a:gd name="connsiteX10" fmla="*/ 1047746 w 10303329"/>
              <a:gd name="connsiteY10" fmla="*/ 22223186 h 22223186"/>
              <a:gd name="connsiteX11" fmla="*/ 0 w 10303329"/>
              <a:gd name="connsiteY11" fmla="*/ 21175440 h 22223186"/>
              <a:gd name="connsiteX12" fmla="*/ 0 w 10303329"/>
              <a:gd name="connsiteY12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57656 w 10303329"/>
              <a:gd name="connsiteY3" fmla="*/ 586402 h 22223186"/>
              <a:gd name="connsiteX4" fmla="*/ 2751365 w 10303329"/>
              <a:gd name="connsiteY4" fmla="*/ 857248 h 22223186"/>
              <a:gd name="connsiteX5" fmla="*/ 7331528 w 10303329"/>
              <a:gd name="connsiteY5" fmla="*/ 832757 h 22223186"/>
              <a:gd name="connsiteX6" fmla="*/ 8147957 w 10303329"/>
              <a:gd name="connsiteY6" fmla="*/ 481693 h 22223186"/>
              <a:gd name="connsiteX7" fmla="*/ 9255583 w 10303329"/>
              <a:gd name="connsiteY7" fmla="*/ 0 h 22223186"/>
              <a:gd name="connsiteX8" fmla="*/ 10303329 w 10303329"/>
              <a:gd name="connsiteY8" fmla="*/ 1047746 h 22223186"/>
              <a:gd name="connsiteX9" fmla="*/ 10303329 w 10303329"/>
              <a:gd name="connsiteY9" fmla="*/ 21175440 h 22223186"/>
              <a:gd name="connsiteX10" fmla="*/ 9255583 w 10303329"/>
              <a:gd name="connsiteY10" fmla="*/ 22223186 h 22223186"/>
              <a:gd name="connsiteX11" fmla="*/ 1047746 w 10303329"/>
              <a:gd name="connsiteY11" fmla="*/ 22223186 h 22223186"/>
              <a:gd name="connsiteX12" fmla="*/ 0 w 10303329"/>
              <a:gd name="connsiteY12" fmla="*/ 21175440 h 22223186"/>
              <a:gd name="connsiteX13" fmla="*/ 0 w 10303329"/>
              <a:gd name="connsiteY13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57656 w 10303329"/>
              <a:gd name="connsiteY3" fmla="*/ 586402 h 22223186"/>
              <a:gd name="connsiteX4" fmla="*/ 2751365 w 10303329"/>
              <a:gd name="connsiteY4" fmla="*/ 857248 h 22223186"/>
              <a:gd name="connsiteX5" fmla="*/ 7331528 w 10303329"/>
              <a:gd name="connsiteY5" fmla="*/ 832757 h 22223186"/>
              <a:gd name="connsiteX6" fmla="*/ 8221435 w 10303329"/>
              <a:gd name="connsiteY6" fmla="*/ 0 h 22223186"/>
              <a:gd name="connsiteX7" fmla="*/ 9255583 w 10303329"/>
              <a:gd name="connsiteY7" fmla="*/ 0 h 22223186"/>
              <a:gd name="connsiteX8" fmla="*/ 10303329 w 10303329"/>
              <a:gd name="connsiteY8" fmla="*/ 1047746 h 22223186"/>
              <a:gd name="connsiteX9" fmla="*/ 10303329 w 10303329"/>
              <a:gd name="connsiteY9" fmla="*/ 21175440 h 22223186"/>
              <a:gd name="connsiteX10" fmla="*/ 9255583 w 10303329"/>
              <a:gd name="connsiteY10" fmla="*/ 22223186 h 22223186"/>
              <a:gd name="connsiteX11" fmla="*/ 1047746 w 10303329"/>
              <a:gd name="connsiteY11" fmla="*/ 22223186 h 22223186"/>
              <a:gd name="connsiteX12" fmla="*/ 0 w 10303329"/>
              <a:gd name="connsiteY12" fmla="*/ 21175440 h 22223186"/>
              <a:gd name="connsiteX13" fmla="*/ 0 w 10303329"/>
              <a:gd name="connsiteY13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57656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8221435 w 10303329"/>
              <a:gd name="connsiteY6" fmla="*/ 0 h 22223186"/>
              <a:gd name="connsiteX7" fmla="*/ 9255583 w 10303329"/>
              <a:gd name="connsiteY7" fmla="*/ 0 h 22223186"/>
              <a:gd name="connsiteX8" fmla="*/ 10303329 w 10303329"/>
              <a:gd name="connsiteY8" fmla="*/ 1047746 h 22223186"/>
              <a:gd name="connsiteX9" fmla="*/ 10303329 w 10303329"/>
              <a:gd name="connsiteY9" fmla="*/ 21175440 h 22223186"/>
              <a:gd name="connsiteX10" fmla="*/ 9255583 w 10303329"/>
              <a:gd name="connsiteY10" fmla="*/ 22223186 h 22223186"/>
              <a:gd name="connsiteX11" fmla="*/ 1047746 w 10303329"/>
              <a:gd name="connsiteY11" fmla="*/ 22223186 h 22223186"/>
              <a:gd name="connsiteX12" fmla="*/ 0 w 10303329"/>
              <a:gd name="connsiteY12" fmla="*/ 21175440 h 22223186"/>
              <a:gd name="connsiteX13" fmla="*/ 0 w 10303329"/>
              <a:gd name="connsiteY13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8221435 w 10303329"/>
              <a:gd name="connsiteY6" fmla="*/ 0 h 22223186"/>
              <a:gd name="connsiteX7" fmla="*/ 9255583 w 10303329"/>
              <a:gd name="connsiteY7" fmla="*/ 0 h 22223186"/>
              <a:gd name="connsiteX8" fmla="*/ 10303329 w 10303329"/>
              <a:gd name="connsiteY8" fmla="*/ 1047746 h 22223186"/>
              <a:gd name="connsiteX9" fmla="*/ 10303329 w 10303329"/>
              <a:gd name="connsiteY9" fmla="*/ 21175440 h 22223186"/>
              <a:gd name="connsiteX10" fmla="*/ 9255583 w 10303329"/>
              <a:gd name="connsiteY10" fmla="*/ 22223186 h 22223186"/>
              <a:gd name="connsiteX11" fmla="*/ 1047746 w 10303329"/>
              <a:gd name="connsiteY11" fmla="*/ 22223186 h 22223186"/>
              <a:gd name="connsiteX12" fmla="*/ 0 w 10303329"/>
              <a:gd name="connsiteY12" fmla="*/ 21175440 h 22223186"/>
              <a:gd name="connsiteX13" fmla="*/ 0 w 10303329"/>
              <a:gd name="connsiteY13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8221435 w 10303329"/>
              <a:gd name="connsiteY6" fmla="*/ 0 h 22223186"/>
              <a:gd name="connsiteX7" fmla="*/ 9255583 w 10303329"/>
              <a:gd name="connsiteY7" fmla="*/ 0 h 22223186"/>
              <a:gd name="connsiteX8" fmla="*/ 10303329 w 10303329"/>
              <a:gd name="connsiteY8" fmla="*/ 1047746 h 22223186"/>
              <a:gd name="connsiteX9" fmla="*/ 10303329 w 10303329"/>
              <a:gd name="connsiteY9" fmla="*/ 21175440 h 22223186"/>
              <a:gd name="connsiteX10" fmla="*/ 9255583 w 10303329"/>
              <a:gd name="connsiteY10" fmla="*/ 22223186 h 22223186"/>
              <a:gd name="connsiteX11" fmla="*/ 1047746 w 10303329"/>
              <a:gd name="connsiteY11" fmla="*/ 22223186 h 22223186"/>
              <a:gd name="connsiteX12" fmla="*/ 0 w 10303329"/>
              <a:gd name="connsiteY12" fmla="*/ 21175440 h 22223186"/>
              <a:gd name="connsiteX13" fmla="*/ 0 w 10303329"/>
              <a:gd name="connsiteY13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756072 w 10303329"/>
              <a:gd name="connsiteY6" fmla="*/ 432707 h 22223186"/>
              <a:gd name="connsiteX7" fmla="*/ 8221435 w 10303329"/>
              <a:gd name="connsiteY7" fmla="*/ 0 h 22223186"/>
              <a:gd name="connsiteX8" fmla="*/ 9255583 w 10303329"/>
              <a:gd name="connsiteY8" fmla="*/ 0 h 22223186"/>
              <a:gd name="connsiteX9" fmla="*/ 10303329 w 10303329"/>
              <a:gd name="connsiteY9" fmla="*/ 1047746 h 22223186"/>
              <a:gd name="connsiteX10" fmla="*/ 10303329 w 10303329"/>
              <a:gd name="connsiteY10" fmla="*/ 21175440 h 22223186"/>
              <a:gd name="connsiteX11" fmla="*/ 9255583 w 10303329"/>
              <a:gd name="connsiteY11" fmla="*/ 22223186 h 22223186"/>
              <a:gd name="connsiteX12" fmla="*/ 1047746 w 10303329"/>
              <a:gd name="connsiteY12" fmla="*/ 22223186 h 22223186"/>
              <a:gd name="connsiteX13" fmla="*/ 0 w 10303329"/>
              <a:gd name="connsiteY13" fmla="*/ 21175440 h 22223186"/>
              <a:gd name="connsiteX14" fmla="*/ 0 w 10303329"/>
              <a:gd name="connsiteY14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221435 w 10303329"/>
              <a:gd name="connsiteY7" fmla="*/ 0 h 22223186"/>
              <a:gd name="connsiteX8" fmla="*/ 9255583 w 10303329"/>
              <a:gd name="connsiteY8" fmla="*/ 0 h 22223186"/>
              <a:gd name="connsiteX9" fmla="*/ 10303329 w 10303329"/>
              <a:gd name="connsiteY9" fmla="*/ 1047746 h 22223186"/>
              <a:gd name="connsiteX10" fmla="*/ 10303329 w 10303329"/>
              <a:gd name="connsiteY10" fmla="*/ 21175440 h 22223186"/>
              <a:gd name="connsiteX11" fmla="*/ 9255583 w 10303329"/>
              <a:gd name="connsiteY11" fmla="*/ 22223186 h 22223186"/>
              <a:gd name="connsiteX12" fmla="*/ 1047746 w 10303329"/>
              <a:gd name="connsiteY12" fmla="*/ 22223186 h 22223186"/>
              <a:gd name="connsiteX13" fmla="*/ 0 w 10303329"/>
              <a:gd name="connsiteY13" fmla="*/ 21175440 h 22223186"/>
              <a:gd name="connsiteX14" fmla="*/ 0 w 10303329"/>
              <a:gd name="connsiteY14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221435 w 10303329"/>
              <a:gd name="connsiteY7" fmla="*/ 0 h 22223186"/>
              <a:gd name="connsiteX8" fmla="*/ 9255583 w 10303329"/>
              <a:gd name="connsiteY8" fmla="*/ 0 h 22223186"/>
              <a:gd name="connsiteX9" fmla="*/ 10303329 w 10303329"/>
              <a:gd name="connsiteY9" fmla="*/ 1047746 h 22223186"/>
              <a:gd name="connsiteX10" fmla="*/ 10303329 w 10303329"/>
              <a:gd name="connsiteY10" fmla="*/ 21175440 h 22223186"/>
              <a:gd name="connsiteX11" fmla="*/ 9255583 w 10303329"/>
              <a:gd name="connsiteY11" fmla="*/ 22223186 h 22223186"/>
              <a:gd name="connsiteX12" fmla="*/ 1047746 w 10303329"/>
              <a:gd name="connsiteY12" fmla="*/ 22223186 h 22223186"/>
              <a:gd name="connsiteX13" fmla="*/ 0 w 10303329"/>
              <a:gd name="connsiteY13" fmla="*/ 21175440 h 22223186"/>
              <a:gd name="connsiteX14" fmla="*/ 0 w 10303329"/>
              <a:gd name="connsiteY14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221435 w 10303329"/>
              <a:gd name="connsiteY7" fmla="*/ 0 h 22223186"/>
              <a:gd name="connsiteX8" fmla="*/ 9255583 w 10303329"/>
              <a:gd name="connsiteY8" fmla="*/ 0 h 22223186"/>
              <a:gd name="connsiteX9" fmla="*/ 10303329 w 10303329"/>
              <a:gd name="connsiteY9" fmla="*/ 1047746 h 22223186"/>
              <a:gd name="connsiteX10" fmla="*/ 10303329 w 10303329"/>
              <a:gd name="connsiteY10" fmla="*/ 21175440 h 22223186"/>
              <a:gd name="connsiteX11" fmla="*/ 9255583 w 10303329"/>
              <a:gd name="connsiteY11" fmla="*/ 22223186 h 22223186"/>
              <a:gd name="connsiteX12" fmla="*/ 1047746 w 10303329"/>
              <a:gd name="connsiteY12" fmla="*/ 22223186 h 22223186"/>
              <a:gd name="connsiteX13" fmla="*/ 0 w 10303329"/>
              <a:gd name="connsiteY13" fmla="*/ 21175440 h 22223186"/>
              <a:gd name="connsiteX14" fmla="*/ 0 w 10303329"/>
              <a:gd name="connsiteY14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066314 w 10303329"/>
              <a:gd name="connsiteY7" fmla="*/ 277586 h 22223186"/>
              <a:gd name="connsiteX8" fmla="*/ 8221435 w 10303329"/>
              <a:gd name="connsiteY8" fmla="*/ 0 h 22223186"/>
              <a:gd name="connsiteX9" fmla="*/ 9255583 w 10303329"/>
              <a:gd name="connsiteY9" fmla="*/ 0 h 22223186"/>
              <a:gd name="connsiteX10" fmla="*/ 10303329 w 10303329"/>
              <a:gd name="connsiteY10" fmla="*/ 1047746 h 22223186"/>
              <a:gd name="connsiteX11" fmla="*/ 10303329 w 10303329"/>
              <a:gd name="connsiteY11" fmla="*/ 21175440 h 22223186"/>
              <a:gd name="connsiteX12" fmla="*/ 9255583 w 10303329"/>
              <a:gd name="connsiteY12" fmla="*/ 22223186 h 22223186"/>
              <a:gd name="connsiteX13" fmla="*/ 1047746 w 10303329"/>
              <a:gd name="connsiteY13" fmla="*/ 22223186 h 22223186"/>
              <a:gd name="connsiteX14" fmla="*/ 0 w 10303329"/>
              <a:gd name="connsiteY14" fmla="*/ 21175440 h 22223186"/>
              <a:gd name="connsiteX15" fmla="*/ 0 w 10303329"/>
              <a:gd name="connsiteY15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058150 w 10303329"/>
              <a:gd name="connsiteY7" fmla="*/ 73478 h 22223186"/>
              <a:gd name="connsiteX8" fmla="*/ 8221435 w 10303329"/>
              <a:gd name="connsiteY8" fmla="*/ 0 h 22223186"/>
              <a:gd name="connsiteX9" fmla="*/ 9255583 w 10303329"/>
              <a:gd name="connsiteY9" fmla="*/ 0 h 22223186"/>
              <a:gd name="connsiteX10" fmla="*/ 10303329 w 10303329"/>
              <a:gd name="connsiteY10" fmla="*/ 1047746 h 22223186"/>
              <a:gd name="connsiteX11" fmla="*/ 10303329 w 10303329"/>
              <a:gd name="connsiteY11" fmla="*/ 21175440 h 22223186"/>
              <a:gd name="connsiteX12" fmla="*/ 9255583 w 10303329"/>
              <a:gd name="connsiteY12" fmla="*/ 22223186 h 22223186"/>
              <a:gd name="connsiteX13" fmla="*/ 1047746 w 10303329"/>
              <a:gd name="connsiteY13" fmla="*/ 22223186 h 22223186"/>
              <a:gd name="connsiteX14" fmla="*/ 0 w 10303329"/>
              <a:gd name="connsiteY14" fmla="*/ 21175440 h 22223186"/>
              <a:gd name="connsiteX15" fmla="*/ 0 w 10303329"/>
              <a:gd name="connsiteY15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058150 w 10303329"/>
              <a:gd name="connsiteY7" fmla="*/ 73478 h 22223186"/>
              <a:gd name="connsiteX8" fmla="*/ 8221435 w 10303329"/>
              <a:gd name="connsiteY8" fmla="*/ 0 h 22223186"/>
              <a:gd name="connsiteX9" fmla="*/ 9255583 w 10303329"/>
              <a:gd name="connsiteY9" fmla="*/ 0 h 22223186"/>
              <a:gd name="connsiteX10" fmla="*/ 10303329 w 10303329"/>
              <a:gd name="connsiteY10" fmla="*/ 1047746 h 22223186"/>
              <a:gd name="connsiteX11" fmla="*/ 10303329 w 10303329"/>
              <a:gd name="connsiteY11" fmla="*/ 21175440 h 22223186"/>
              <a:gd name="connsiteX12" fmla="*/ 9255583 w 10303329"/>
              <a:gd name="connsiteY12" fmla="*/ 22223186 h 22223186"/>
              <a:gd name="connsiteX13" fmla="*/ 1047746 w 10303329"/>
              <a:gd name="connsiteY13" fmla="*/ 22223186 h 22223186"/>
              <a:gd name="connsiteX14" fmla="*/ 0 w 10303329"/>
              <a:gd name="connsiteY14" fmla="*/ 21175440 h 22223186"/>
              <a:gd name="connsiteX15" fmla="*/ 0 w 10303329"/>
              <a:gd name="connsiteY15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058150 w 10303329"/>
              <a:gd name="connsiteY7" fmla="*/ 73478 h 22223186"/>
              <a:gd name="connsiteX8" fmla="*/ 8221435 w 10303329"/>
              <a:gd name="connsiteY8" fmla="*/ 0 h 22223186"/>
              <a:gd name="connsiteX9" fmla="*/ 9255583 w 10303329"/>
              <a:gd name="connsiteY9" fmla="*/ 0 h 22223186"/>
              <a:gd name="connsiteX10" fmla="*/ 10303329 w 10303329"/>
              <a:gd name="connsiteY10" fmla="*/ 1047746 h 22223186"/>
              <a:gd name="connsiteX11" fmla="*/ 10303329 w 10303329"/>
              <a:gd name="connsiteY11" fmla="*/ 21175440 h 22223186"/>
              <a:gd name="connsiteX12" fmla="*/ 9255583 w 10303329"/>
              <a:gd name="connsiteY12" fmla="*/ 22223186 h 22223186"/>
              <a:gd name="connsiteX13" fmla="*/ 1047746 w 10303329"/>
              <a:gd name="connsiteY13" fmla="*/ 22223186 h 22223186"/>
              <a:gd name="connsiteX14" fmla="*/ 0 w 10303329"/>
              <a:gd name="connsiteY14" fmla="*/ 21175440 h 22223186"/>
              <a:gd name="connsiteX15" fmla="*/ 0 w 10303329"/>
              <a:gd name="connsiteY15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058150 w 10303329"/>
              <a:gd name="connsiteY7" fmla="*/ 73478 h 22223186"/>
              <a:gd name="connsiteX8" fmla="*/ 8221435 w 10303329"/>
              <a:gd name="connsiteY8" fmla="*/ 0 h 22223186"/>
              <a:gd name="connsiteX9" fmla="*/ 9255583 w 10303329"/>
              <a:gd name="connsiteY9" fmla="*/ 0 h 22223186"/>
              <a:gd name="connsiteX10" fmla="*/ 10303329 w 10303329"/>
              <a:gd name="connsiteY10" fmla="*/ 1047746 h 22223186"/>
              <a:gd name="connsiteX11" fmla="*/ 10303329 w 10303329"/>
              <a:gd name="connsiteY11" fmla="*/ 21175440 h 22223186"/>
              <a:gd name="connsiteX12" fmla="*/ 9255583 w 10303329"/>
              <a:gd name="connsiteY12" fmla="*/ 22223186 h 22223186"/>
              <a:gd name="connsiteX13" fmla="*/ 1047746 w 10303329"/>
              <a:gd name="connsiteY13" fmla="*/ 22223186 h 22223186"/>
              <a:gd name="connsiteX14" fmla="*/ 0 w 10303329"/>
              <a:gd name="connsiteY14" fmla="*/ 21175440 h 22223186"/>
              <a:gd name="connsiteX15" fmla="*/ 0 w 10303329"/>
              <a:gd name="connsiteY15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058150 w 10303329"/>
              <a:gd name="connsiteY7" fmla="*/ 73478 h 22223186"/>
              <a:gd name="connsiteX8" fmla="*/ 8221435 w 10303329"/>
              <a:gd name="connsiteY8" fmla="*/ 0 h 22223186"/>
              <a:gd name="connsiteX9" fmla="*/ 9255583 w 10303329"/>
              <a:gd name="connsiteY9" fmla="*/ 0 h 22223186"/>
              <a:gd name="connsiteX10" fmla="*/ 10303329 w 10303329"/>
              <a:gd name="connsiteY10" fmla="*/ 1047746 h 22223186"/>
              <a:gd name="connsiteX11" fmla="*/ 10303329 w 10303329"/>
              <a:gd name="connsiteY11" fmla="*/ 21175440 h 22223186"/>
              <a:gd name="connsiteX12" fmla="*/ 9255583 w 10303329"/>
              <a:gd name="connsiteY12" fmla="*/ 22223186 h 22223186"/>
              <a:gd name="connsiteX13" fmla="*/ 1047746 w 10303329"/>
              <a:gd name="connsiteY13" fmla="*/ 22223186 h 22223186"/>
              <a:gd name="connsiteX14" fmla="*/ 0 w 10303329"/>
              <a:gd name="connsiteY14" fmla="*/ 21175440 h 22223186"/>
              <a:gd name="connsiteX15" fmla="*/ 0 w 10303329"/>
              <a:gd name="connsiteY15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058150 w 10303329"/>
              <a:gd name="connsiteY7" fmla="*/ 73478 h 22223186"/>
              <a:gd name="connsiteX8" fmla="*/ 8221435 w 10303329"/>
              <a:gd name="connsiteY8" fmla="*/ 0 h 22223186"/>
              <a:gd name="connsiteX9" fmla="*/ 9255583 w 10303329"/>
              <a:gd name="connsiteY9" fmla="*/ 0 h 22223186"/>
              <a:gd name="connsiteX10" fmla="*/ 10303329 w 10303329"/>
              <a:gd name="connsiteY10" fmla="*/ 1047746 h 22223186"/>
              <a:gd name="connsiteX11" fmla="*/ 10303329 w 10303329"/>
              <a:gd name="connsiteY11" fmla="*/ 21175440 h 22223186"/>
              <a:gd name="connsiteX12" fmla="*/ 9255583 w 10303329"/>
              <a:gd name="connsiteY12" fmla="*/ 22223186 h 22223186"/>
              <a:gd name="connsiteX13" fmla="*/ 1047746 w 10303329"/>
              <a:gd name="connsiteY13" fmla="*/ 22223186 h 22223186"/>
              <a:gd name="connsiteX14" fmla="*/ 0 w 10303329"/>
              <a:gd name="connsiteY14" fmla="*/ 21175440 h 22223186"/>
              <a:gd name="connsiteX15" fmla="*/ 0 w 10303329"/>
              <a:gd name="connsiteY15" fmla="*/ 1047746 h 22223186"/>
              <a:gd name="connsiteX0" fmla="*/ 0 w 10303329"/>
              <a:gd name="connsiteY0" fmla="*/ 1122334 h 22297774"/>
              <a:gd name="connsiteX1" fmla="*/ 1047746 w 10303329"/>
              <a:gd name="connsiteY1" fmla="*/ 74588 h 22297774"/>
              <a:gd name="connsiteX2" fmla="*/ 2206735 w 10303329"/>
              <a:gd name="connsiteY2" fmla="*/ 92819 h 22297774"/>
              <a:gd name="connsiteX3" fmla="*/ 2382149 w 10303329"/>
              <a:gd name="connsiteY3" fmla="*/ 660990 h 22297774"/>
              <a:gd name="connsiteX4" fmla="*/ 2775858 w 10303329"/>
              <a:gd name="connsiteY4" fmla="*/ 907343 h 22297774"/>
              <a:gd name="connsiteX5" fmla="*/ 7331528 w 10303329"/>
              <a:gd name="connsiteY5" fmla="*/ 907345 h 22297774"/>
              <a:gd name="connsiteX6" fmla="*/ 7878536 w 10303329"/>
              <a:gd name="connsiteY6" fmla="*/ 654253 h 22297774"/>
              <a:gd name="connsiteX7" fmla="*/ 8058150 w 10303329"/>
              <a:gd name="connsiteY7" fmla="*/ 148066 h 22297774"/>
              <a:gd name="connsiteX8" fmla="*/ 9255583 w 10303329"/>
              <a:gd name="connsiteY8" fmla="*/ 74588 h 22297774"/>
              <a:gd name="connsiteX9" fmla="*/ 10303329 w 10303329"/>
              <a:gd name="connsiteY9" fmla="*/ 1122334 h 22297774"/>
              <a:gd name="connsiteX10" fmla="*/ 10303329 w 10303329"/>
              <a:gd name="connsiteY10" fmla="*/ 21250028 h 22297774"/>
              <a:gd name="connsiteX11" fmla="*/ 9255583 w 10303329"/>
              <a:gd name="connsiteY11" fmla="*/ 22297774 h 22297774"/>
              <a:gd name="connsiteX12" fmla="*/ 1047746 w 10303329"/>
              <a:gd name="connsiteY12" fmla="*/ 22297774 h 22297774"/>
              <a:gd name="connsiteX13" fmla="*/ 0 w 10303329"/>
              <a:gd name="connsiteY13" fmla="*/ 21250028 h 22297774"/>
              <a:gd name="connsiteX14" fmla="*/ 0 w 10303329"/>
              <a:gd name="connsiteY14" fmla="*/ 1122334 h 22297774"/>
              <a:gd name="connsiteX0" fmla="*/ 0 w 10303329"/>
              <a:gd name="connsiteY0" fmla="*/ 1114032 h 22289472"/>
              <a:gd name="connsiteX1" fmla="*/ 1047746 w 10303329"/>
              <a:gd name="connsiteY1" fmla="*/ 66286 h 22289472"/>
              <a:gd name="connsiteX2" fmla="*/ 2206735 w 10303329"/>
              <a:gd name="connsiteY2" fmla="*/ 84517 h 22289472"/>
              <a:gd name="connsiteX3" fmla="*/ 2382149 w 10303329"/>
              <a:gd name="connsiteY3" fmla="*/ 652688 h 22289472"/>
              <a:gd name="connsiteX4" fmla="*/ 2775858 w 10303329"/>
              <a:gd name="connsiteY4" fmla="*/ 899041 h 22289472"/>
              <a:gd name="connsiteX5" fmla="*/ 7331528 w 10303329"/>
              <a:gd name="connsiteY5" fmla="*/ 899043 h 22289472"/>
              <a:gd name="connsiteX6" fmla="*/ 7878536 w 10303329"/>
              <a:gd name="connsiteY6" fmla="*/ 645951 h 22289472"/>
              <a:gd name="connsiteX7" fmla="*/ 8058150 w 10303329"/>
              <a:gd name="connsiteY7" fmla="*/ 139764 h 22289472"/>
              <a:gd name="connsiteX8" fmla="*/ 9255583 w 10303329"/>
              <a:gd name="connsiteY8" fmla="*/ 66286 h 22289472"/>
              <a:gd name="connsiteX9" fmla="*/ 10303329 w 10303329"/>
              <a:gd name="connsiteY9" fmla="*/ 1114032 h 22289472"/>
              <a:gd name="connsiteX10" fmla="*/ 10303329 w 10303329"/>
              <a:gd name="connsiteY10" fmla="*/ 21241726 h 22289472"/>
              <a:gd name="connsiteX11" fmla="*/ 9255583 w 10303329"/>
              <a:gd name="connsiteY11" fmla="*/ 22289472 h 22289472"/>
              <a:gd name="connsiteX12" fmla="*/ 1047746 w 10303329"/>
              <a:gd name="connsiteY12" fmla="*/ 22289472 h 22289472"/>
              <a:gd name="connsiteX13" fmla="*/ 0 w 10303329"/>
              <a:gd name="connsiteY13" fmla="*/ 21241726 h 22289472"/>
              <a:gd name="connsiteX14" fmla="*/ 0 w 10303329"/>
              <a:gd name="connsiteY14" fmla="*/ 1114032 h 22289472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058150 w 10303329"/>
              <a:gd name="connsiteY7" fmla="*/ 73478 h 22223186"/>
              <a:gd name="connsiteX8" fmla="*/ 9255583 w 10303329"/>
              <a:gd name="connsiteY8" fmla="*/ 0 h 22223186"/>
              <a:gd name="connsiteX9" fmla="*/ 10303329 w 10303329"/>
              <a:gd name="connsiteY9" fmla="*/ 1047746 h 22223186"/>
              <a:gd name="connsiteX10" fmla="*/ 10303329 w 10303329"/>
              <a:gd name="connsiteY10" fmla="*/ 21175440 h 22223186"/>
              <a:gd name="connsiteX11" fmla="*/ 9255583 w 10303329"/>
              <a:gd name="connsiteY11" fmla="*/ 22223186 h 22223186"/>
              <a:gd name="connsiteX12" fmla="*/ 1047746 w 10303329"/>
              <a:gd name="connsiteY12" fmla="*/ 22223186 h 22223186"/>
              <a:gd name="connsiteX13" fmla="*/ 0 w 10303329"/>
              <a:gd name="connsiteY13" fmla="*/ 21175440 h 22223186"/>
              <a:gd name="connsiteX14" fmla="*/ 0 w 10303329"/>
              <a:gd name="connsiteY14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058150 w 10303329"/>
              <a:gd name="connsiteY7" fmla="*/ 73478 h 22223186"/>
              <a:gd name="connsiteX8" fmla="*/ 9255583 w 10303329"/>
              <a:gd name="connsiteY8" fmla="*/ 0 h 22223186"/>
              <a:gd name="connsiteX9" fmla="*/ 10303329 w 10303329"/>
              <a:gd name="connsiteY9" fmla="*/ 1047746 h 22223186"/>
              <a:gd name="connsiteX10" fmla="*/ 10303329 w 10303329"/>
              <a:gd name="connsiteY10" fmla="*/ 21175440 h 22223186"/>
              <a:gd name="connsiteX11" fmla="*/ 9255583 w 10303329"/>
              <a:gd name="connsiteY11" fmla="*/ 22223186 h 22223186"/>
              <a:gd name="connsiteX12" fmla="*/ 1047746 w 10303329"/>
              <a:gd name="connsiteY12" fmla="*/ 22223186 h 22223186"/>
              <a:gd name="connsiteX13" fmla="*/ 0 w 10303329"/>
              <a:gd name="connsiteY13" fmla="*/ 21175440 h 22223186"/>
              <a:gd name="connsiteX14" fmla="*/ 0 w 10303329"/>
              <a:gd name="connsiteY14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058150 w 10303329"/>
              <a:gd name="connsiteY7" fmla="*/ 73478 h 22223186"/>
              <a:gd name="connsiteX8" fmla="*/ 9255583 w 10303329"/>
              <a:gd name="connsiteY8" fmla="*/ 0 h 22223186"/>
              <a:gd name="connsiteX9" fmla="*/ 10303329 w 10303329"/>
              <a:gd name="connsiteY9" fmla="*/ 1047746 h 22223186"/>
              <a:gd name="connsiteX10" fmla="*/ 10303329 w 10303329"/>
              <a:gd name="connsiteY10" fmla="*/ 21175440 h 22223186"/>
              <a:gd name="connsiteX11" fmla="*/ 9255583 w 10303329"/>
              <a:gd name="connsiteY11" fmla="*/ 22223186 h 22223186"/>
              <a:gd name="connsiteX12" fmla="*/ 1047746 w 10303329"/>
              <a:gd name="connsiteY12" fmla="*/ 22223186 h 22223186"/>
              <a:gd name="connsiteX13" fmla="*/ 0 w 10303329"/>
              <a:gd name="connsiteY13" fmla="*/ 21175440 h 22223186"/>
              <a:gd name="connsiteX14" fmla="*/ 0 w 10303329"/>
              <a:gd name="connsiteY14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94864 w 10303329"/>
              <a:gd name="connsiteY6" fmla="*/ 595993 h 22223186"/>
              <a:gd name="connsiteX7" fmla="*/ 8058150 w 10303329"/>
              <a:gd name="connsiteY7" fmla="*/ 73478 h 22223186"/>
              <a:gd name="connsiteX8" fmla="*/ 9255583 w 10303329"/>
              <a:gd name="connsiteY8" fmla="*/ 0 h 22223186"/>
              <a:gd name="connsiteX9" fmla="*/ 10303329 w 10303329"/>
              <a:gd name="connsiteY9" fmla="*/ 1047746 h 22223186"/>
              <a:gd name="connsiteX10" fmla="*/ 10303329 w 10303329"/>
              <a:gd name="connsiteY10" fmla="*/ 21175440 h 22223186"/>
              <a:gd name="connsiteX11" fmla="*/ 9255583 w 10303329"/>
              <a:gd name="connsiteY11" fmla="*/ 22223186 h 22223186"/>
              <a:gd name="connsiteX12" fmla="*/ 1047746 w 10303329"/>
              <a:gd name="connsiteY12" fmla="*/ 22223186 h 22223186"/>
              <a:gd name="connsiteX13" fmla="*/ 0 w 10303329"/>
              <a:gd name="connsiteY13" fmla="*/ 21175440 h 22223186"/>
              <a:gd name="connsiteX14" fmla="*/ 0 w 10303329"/>
              <a:gd name="connsiteY14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94864 w 10303329"/>
              <a:gd name="connsiteY6" fmla="*/ 595993 h 22223186"/>
              <a:gd name="connsiteX7" fmla="*/ 8017329 w 10303329"/>
              <a:gd name="connsiteY7" fmla="*/ 204107 h 22223186"/>
              <a:gd name="connsiteX8" fmla="*/ 8058150 w 10303329"/>
              <a:gd name="connsiteY8" fmla="*/ 73478 h 22223186"/>
              <a:gd name="connsiteX9" fmla="*/ 9255583 w 10303329"/>
              <a:gd name="connsiteY9" fmla="*/ 0 h 22223186"/>
              <a:gd name="connsiteX10" fmla="*/ 10303329 w 10303329"/>
              <a:gd name="connsiteY10" fmla="*/ 1047746 h 22223186"/>
              <a:gd name="connsiteX11" fmla="*/ 10303329 w 10303329"/>
              <a:gd name="connsiteY11" fmla="*/ 21175440 h 22223186"/>
              <a:gd name="connsiteX12" fmla="*/ 9255583 w 10303329"/>
              <a:gd name="connsiteY12" fmla="*/ 22223186 h 22223186"/>
              <a:gd name="connsiteX13" fmla="*/ 1047746 w 10303329"/>
              <a:gd name="connsiteY13" fmla="*/ 22223186 h 22223186"/>
              <a:gd name="connsiteX14" fmla="*/ 0 w 10303329"/>
              <a:gd name="connsiteY14" fmla="*/ 21175440 h 22223186"/>
              <a:gd name="connsiteX15" fmla="*/ 0 w 10303329"/>
              <a:gd name="connsiteY15" fmla="*/ 1047746 h 22223186"/>
              <a:gd name="connsiteX0" fmla="*/ 0 w 10303329"/>
              <a:gd name="connsiteY0" fmla="*/ 1115259 h 22290699"/>
              <a:gd name="connsiteX1" fmla="*/ 1047746 w 10303329"/>
              <a:gd name="connsiteY1" fmla="*/ 67513 h 22290699"/>
              <a:gd name="connsiteX2" fmla="*/ 2206735 w 10303329"/>
              <a:gd name="connsiteY2" fmla="*/ 85744 h 22290699"/>
              <a:gd name="connsiteX3" fmla="*/ 2382149 w 10303329"/>
              <a:gd name="connsiteY3" fmla="*/ 653915 h 22290699"/>
              <a:gd name="connsiteX4" fmla="*/ 2775858 w 10303329"/>
              <a:gd name="connsiteY4" fmla="*/ 900268 h 22290699"/>
              <a:gd name="connsiteX5" fmla="*/ 7331528 w 10303329"/>
              <a:gd name="connsiteY5" fmla="*/ 900270 h 22290699"/>
              <a:gd name="connsiteX6" fmla="*/ 7894864 w 10303329"/>
              <a:gd name="connsiteY6" fmla="*/ 663506 h 22290699"/>
              <a:gd name="connsiteX7" fmla="*/ 8017329 w 10303329"/>
              <a:gd name="connsiteY7" fmla="*/ 271620 h 22290699"/>
              <a:gd name="connsiteX8" fmla="*/ 8058150 w 10303329"/>
              <a:gd name="connsiteY8" fmla="*/ 140991 h 22290699"/>
              <a:gd name="connsiteX9" fmla="*/ 8123464 w 10303329"/>
              <a:gd name="connsiteY9" fmla="*/ 108334 h 22290699"/>
              <a:gd name="connsiteX10" fmla="*/ 9255583 w 10303329"/>
              <a:gd name="connsiteY10" fmla="*/ 67513 h 22290699"/>
              <a:gd name="connsiteX11" fmla="*/ 10303329 w 10303329"/>
              <a:gd name="connsiteY11" fmla="*/ 1115259 h 22290699"/>
              <a:gd name="connsiteX12" fmla="*/ 10303329 w 10303329"/>
              <a:gd name="connsiteY12" fmla="*/ 21242953 h 22290699"/>
              <a:gd name="connsiteX13" fmla="*/ 9255583 w 10303329"/>
              <a:gd name="connsiteY13" fmla="*/ 22290699 h 22290699"/>
              <a:gd name="connsiteX14" fmla="*/ 1047746 w 10303329"/>
              <a:gd name="connsiteY14" fmla="*/ 22290699 h 22290699"/>
              <a:gd name="connsiteX15" fmla="*/ 0 w 10303329"/>
              <a:gd name="connsiteY15" fmla="*/ 21242953 h 22290699"/>
              <a:gd name="connsiteX16" fmla="*/ 0 w 10303329"/>
              <a:gd name="connsiteY16" fmla="*/ 1115259 h 22290699"/>
              <a:gd name="connsiteX0" fmla="*/ 0 w 10303329"/>
              <a:gd name="connsiteY0" fmla="*/ 1115259 h 22290699"/>
              <a:gd name="connsiteX1" fmla="*/ 1047746 w 10303329"/>
              <a:gd name="connsiteY1" fmla="*/ 67513 h 22290699"/>
              <a:gd name="connsiteX2" fmla="*/ 2206735 w 10303329"/>
              <a:gd name="connsiteY2" fmla="*/ 85744 h 22290699"/>
              <a:gd name="connsiteX3" fmla="*/ 2382149 w 10303329"/>
              <a:gd name="connsiteY3" fmla="*/ 653915 h 22290699"/>
              <a:gd name="connsiteX4" fmla="*/ 2775858 w 10303329"/>
              <a:gd name="connsiteY4" fmla="*/ 900268 h 22290699"/>
              <a:gd name="connsiteX5" fmla="*/ 7331528 w 10303329"/>
              <a:gd name="connsiteY5" fmla="*/ 900270 h 22290699"/>
              <a:gd name="connsiteX6" fmla="*/ 7894864 w 10303329"/>
              <a:gd name="connsiteY6" fmla="*/ 663506 h 22290699"/>
              <a:gd name="connsiteX7" fmla="*/ 8017329 w 10303329"/>
              <a:gd name="connsiteY7" fmla="*/ 271620 h 22290699"/>
              <a:gd name="connsiteX8" fmla="*/ 8123464 w 10303329"/>
              <a:gd name="connsiteY8" fmla="*/ 108334 h 22290699"/>
              <a:gd name="connsiteX9" fmla="*/ 9255583 w 10303329"/>
              <a:gd name="connsiteY9" fmla="*/ 67513 h 22290699"/>
              <a:gd name="connsiteX10" fmla="*/ 10303329 w 10303329"/>
              <a:gd name="connsiteY10" fmla="*/ 1115259 h 22290699"/>
              <a:gd name="connsiteX11" fmla="*/ 10303329 w 10303329"/>
              <a:gd name="connsiteY11" fmla="*/ 21242953 h 22290699"/>
              <a:gd name="connsiteX12" fmla="*/ 9255583 w 10303329"/>
              <a:gd name="connsiteY12" fmla="*/ 22290699 h 22290699"/>
              <a:gd name="connsiteX13" fmla="*/ 1047746 w 10303329"/>
              <a:gd name="connsiteY13" fmla="*/ 22290699 h 22290699"/>
              <a:gd name="connsiteX14" fmla="*/ 0 w 10303329"/>
              <a:gd name="connsiteY14" fmla="*/ 21242953 h 22290699"/>
              <a:gd name="connsiteX15" fmla="*/ 0 w 10303329"/>
              <a:gd name="connsiteY15" fmla="*/ 1115259 h 22290699"/>
              <a:gd name="connsiteX0" fmla="*/ 0 w 10303329"/>
              <a:gd name="connsiteY0" fmla="*/ 1048170 h 22223610"/>
              <a:gd name="connsiteX1" fmla="*/ 1047746 w 10303329"/>
              <a:gd name="connsiteY1" fmla="*/ 424 h 22223610"/>
              <a:gd name="connsiteX2" fmla="*/ 2206735 w 10303329"/>
              <a:gd name="connsiteY2" fmla="*/ 18655 h 22223610"/>
              <a:gd name="connsiteX3" fmla="*/ 2382149 w 10303329"/>
              <a:gd name="connsiteY3" fmla="*/ 586826 h 22223610"/>
              <a:gd name="connsiteX4" fmla="*/ 2775858 w 10303329"/>
              <a:gd name="connsiteY4" fmla="*/ 833179 h 22223610"/>
              <a:gd name="connsiteX5" fmla="*/ 7331528 w 10303329"/>
              <a:gd name="connsiteY5" fmla="*/ 833181 h 22223610"/>
              <a:gd name="connsiteX6" fmla="*/ 7894864 w 10303329"/>
              <a:gd name="connsiteY6" fmla="*/ 596417 h 22223610"/>
              <a:gd name="connsiteX7" fmla="*/ 8017329 w 10303329"/>
              <a:gd name="connsiteY7" fmla="*/ 204531 h 22223610"/>
              <a:gd name="connsiteX8" fmla="*/ 8123464 w 10303329"/>
              <a:gd name="connsiteY8" fmla="*/ 41245 h 22223610"/>
              <a:gd name="connsiteX9" fmla="*/ 9255583 w 10303329"/>
              <a:gd name="connsiteY9" fmla="*/ 424 h 22223610"/>
              <a:gd name="connsiteX10" fmla="*/ 10303329 w 10303329"/>
              <a:gd name="connsiteY10" fmla="*/ 1048170 h 22223610"/>
              <a:gd name="connsiteX11" fmla="*/ 10303329 w 10303329"/>
              <a:gd name="connsiteY11" fmla="*/ 21175864 h 22223610"/>
              <a:gd name="connsiteX12" fmla="*/ 9255583 w 10303329"/>
              <a:gd name="connsiteY12" fmla="*/ 22223610 h 22223610"/>
              <a:gd name="connsiteX13" fmla="*/ 1047746 w 10303329"/>
              <a:gd name="connsiteY13" fmla="*/ 22223610 h 22223610"/>
              <a:gd name="connsiteX14" fmla="*/ 0 w 10303329"/>
              <a:gd name="connsiteY14" fmla="*/ 21175864 h 22223610"/>
              <a:gd name="connsiteX15" fmla="*/ 0 w 10303329"/>
              <a:gd name="connsiteY15" fmla="*/ 1048170 h 22223610"/>
              <a:gd name="connsiteX0" fmla="*/ 0 w 10303329"/>
              <a:gd name="connsiteY0" fmla="*/ 1048504 h 22223944"/>
              <a:gd name="connsiteX1" fmla="*/ 1047746 w 10303329"/>
              <a:gd name="connsiteY1" fmla="*/ 758 h 22223944"/>
              <a:gd name="connsiteX2" fmla="*/ 2206735 w 10303329"/>
              <a:gd name="connsiteY2" fmla="*/ 18989 h 22223944"/>
              <a:gd name="connsiteX3" fmla="*/ 2382149 w 10303329"/>
              <a:gd name="connsiteY3" fmla="*/ 587160 h 22223944"/>
              <a:gd name="connsiteX4" fmla="*/ 2775858 w 10303329"/>
              <a:gd name="connsiteY4" fmla="*/ 833513 h 22223944"/>
              <a:gd name="connsiteX5" fmla="*/ 7331528 w 10303329"/>
              <a:gd name="connsiteY5" fmla="*/ 833515 h 22223944"/>
              <a:gd name="connsiteX6" fmla="*/ 7894864 w 10303329"/>
              <a:gd name="connsiteY6" fmla="*/ 596751 h 22223944"/>
              <a:gd name="connsiteX7" fmla="*/ 8017329 w 10303329"/>
              <a:gd name="connsiteY7" fmla="*/ 204865 h 22223944"/>
              <a:gd name="connsiteX8" fmla="*/ 8147957 w 10303329"/>
              <a:gd name="connsiteY8" fmla="*/ 25250 h 22223944"/>
              <a:gd name="connsiteX9" fmla="*/ 9255583 w 10303329"/>
              <a:gd name="connsiteY9" fmla="*/ 758 h 22223944"/>
              <a:gd name="connsiteX10" fmla="*/ 10303329 w 10303329"/>
              <a:gd name="connsiteY10" fmla="*/ 1048504 h 22223944"/>
              <a:gd name="connsiteX11" fmla="*/ 10303329 w 10303329"/>
              <a:gd name="connsiteY11" fmla="*/ 21176198 h 22223944"/>
              <a:gd name="connsiteX12" fmla="*/ 9255583 w 10303329"/>
              <a:gd name="connsiteY12" fmla="*/ 22223944 h 22223944"/>
              <a:gd name="connsiteX13" fmla="*/ 1047746 w 10303329"/>
              <a:gd name="connsiteY13" fmla="*/ 22223944 h 22223944"/>
              <a:gd name="connsiteX14" fmla="*/ 0 w 10303329"/>
              <a:gd name="connsiteY14" fmla="*/ 21176198 h 22223944"/>
              <a:gd name="connsiteX15" fmla="*/ 0 w 10303329"/>
              <a:gd name="connsiteY15" fmla="*/ 1048504 h 22223944"/>
              <a:gd name="connsiteX0" fmla="*/ 0 w 10303329"/>
              <a:gd name="connsiteY0" fmla="*/ 1048504 h 22223944"/>
              <a:gd name="connsiteX1" fmla="*/ 1047746 w 10303329"/>
              <a:gd name="connsiteY1" fmla="*/ 758 h 22223944"/>
              <a:gd name="connsiteX2" fmla="*/ 2206735 w 10303329"/>
              <a:gd name="connsiteY2" fmla="*/ 18989 h 22223944"/>
              <a:gd name="connsiteX3" fmla="*/ 2382149 w 10303329"/>
              <a:gd name="connsiteY3" fmla="*/ 587160 h 22223944"/>
              <a:gd name="connsiteX4" fmla="*/ 2775858 w 10303329"/>
              <a:gd name="connsiteY4" fmla="*/ 833513 h 22223944"/>
              <a:gd name="connsiteX5" fmla="*/ 7331528 w 10303329"/>
              <a:gd name="connsiteY5" fmla="*/ 833515 h 22223944"/>
              <a:gd name="connsiteX6" fmla="*/ 7894864 w 10303329"/>
              <a:gd name="connsiteY6" fmla="*/ 596751 h 22223944"/>
              <a:gd name="connsiteX7" fmla="*/ 8017329 w 10303329"/>
              <a:gd name="connsiteY7" fmla="*/ 204865 h 22223944"/>
              <a:gd name="connsiteX8" fmla="*/ 8147957 w 10303329"/>
              <a:gd name="connsiteY8" fmla="*/ 25250 h 22223944"/>
              <a:gd name="connsiteX9" fmla="*/ 9255583 w 10303329"/>
              <a:gd name="connsiteY9" fmla="*/ 758 h 22223944"/>
              <a:gd name="connsiteX10" fmla="*/ 10303329 w 10303329"/>
              <a:gd name="connsiteY10" fmla="*/ 1048504 h 22223944"/>
              <a:gd name="connsiteX11" fmla="*/ 10303329 w 10303329"/>
              <a:gd name="connsiteY11" fmla="*/ 21176198 h 22223944"/>
              <a:gd name="connsiteX12" fmla="*/ 9255583 w 10303329"/>
              <a:gd name="connsiteY12" fmla="*/ 22223944 h 22223944"/>
              <a:gd name="connsiteX13" fmla="*/ 1047746 w 10303329"/>
              <a:gd name="connsiteY13" fmla="*/ 22223944 h 22223944"/>
              <a:gd name="connsiteX14" fmla="*/ 0 w 10303329"/>
              <a:gd name="connsiteY14" fmla="*/ 21176198 h 22223944"/>
              <a:gd name="connsiteX15" fmla="*/ 0 w 10303329"/>
              <a:gd name="connsiteY15" fmla="*/ 1048504 h 22223944"/>
              <a:gd name="connsiteX0" fmla="*/ 0 w 10303329"/>
              <a:gd name="connsiteY0" fmla="*/ 1048504 h 22223944"/>
              <a:gd name="connsiteX1" fmla="*/ 1047746 w 10303329"/>
              <a:gd name="connsiteY1" fmla="*/ 758 h 22223944"/>
              <a:gd name="connsiteX2" fmla="*/ 2206735 w 10303329"/>
              <a:gd name="connsiteY2" fmla="*/ 18989 h 22223944"/>
              <a:gd name="connsiteX3" fmla="*/ 2382149 w 10303329"/>
              <a:gd name="connsiteY3" fmla="*/ 587160 h 22223944"/>
              <a:gd name="connsiteX4" fmla="*/ 2775858 w 10303329"/>
              <a:gd name="connsiteY4" fmla="*/ 833513 h 22223944"/>
              <a:gd name="connsiteX5" fmla="*/ 7331528 w 10303329"/>
              <a:gd name="connsiteY5" fmla="*/ 833515 h 22223944"/>
              <a:gd name="connsiteX6" fmla="*/ 7894864 w 10303329"/>
              <a:gd name="connsiteY6" fmla="*/ 596751 h 22223944"/>
              <a:gd name="connsiteX7" fmla="*/ 8017329 w 10303329"/>
              <a:gd name="connsiteY7" fmla="*/ 204865 h 22223944"/>
              <a:gd name="connsiteX8" fmla="*/ 8147957 w 10303329"/>
              <a:gd name="connsiteY8" fmla="*/ 25250 h 22223944"/>
              <a:gd name="connsiteX9" fmla="*/ 9255583 w 10303329"/>
              <a:gd name="connsiteY9" fmla="*/ 758 h 22223944"/>
              <a:gd name="connsiteX10" fmla="*/ 10303329 w 10303329"/>
              <a:gd name="connsiteY10" fmla="*/ 1048504 h 22223944"/>
              <a:gd name="connsiteX11" fmla="*/ 10303329 w 10303329"/>
              <a:gd name="connsiteY11" fmla="*/ 21176198 h 22223944"/>
              <a:gd name="connsiteX12" fmla="*/ 9255583 w 10303329"/>
              <a:gd name="connsiteY12" fmla="*/ 22223944 h 22223944"/>
              <a:gd name="connsiteX13" fmla="*/ 1047746 w 10303329"/>
              <a:gd name="connsiteY13" fmla="*/ 22223944 h 22223944"/>
              <a:gd name="connsiteX14" fmla="*/ 0 w 10303329"/>
              <a:gd name="connsiteY14" fmla="*/ 21176198 h 22223944"/>
              <a:gd name="connsiteX15" fmla="*/ 0 w 10303329"/>
              <a:gd name="connsiteY15" fmla="*/ 1048504 h 22223944"/>
              <a:gd name="connsiteX0" fmla="*/ 0 w 10303329"/>
              <a:gd name="connsiteY0" fmla="*/ 1048504 h 22223944"/>
              <a:gd name="connsiteX1" fmla="*/ 1047746 w 10303329"/>
              <a:gd name="connsiteY1" fmla="*/ 758 h 22223944"/>
              <a:gd name="connsiteX2" fmla="*/ 2206735 w 10303329"/>
              <a:gd name="connsiteY2" fmla="*/ 18989 h 22223944"/>
              <a:gd name="connsiteX3" fmla="*/ 2382149 w 10303329"/>
              <a:gd name="connsiteY3" fmla="*/ 587160 h 22223944"/>
              <a:gd name="connsiteX4" fmla="*/ 2775858 w 10303329"/>
              <a:gd name="connsiteY4" fmla="*/ 833513 h 22223944"/>
              <a:gd name="connsiteX5" fmla="*/ 7331528 w 10303329"/>
              <a:gd name="connsiteY5" fmla="*/ 833515 h 22223944"/>
              <a:gd name="connsiteX6" fmla="*/ 7894864 w 10303329"/>
              <a:gd name="connsiteY6" fmla="*/ 596751 h 22223944"/>
              <a:gd name="connsiteX7" fmla="*/ 8017329 w 10303329"/>
              <a:gd name="connsiteY7" fmla="*/ 204865 h 22223944"/>
              <a:gd name="connsiteX8" fmla="*/ 8147957 w 10303329"/>
              <a:gd name="connsiteY8" fmla="*/ 25250 h 22223944"/>
              <a:gd name="connsiteX9" fmla="*/ 9255583 w 10303329"/>
              <a:gd name="connsiteY9" fmla="*/ 758 h 22223944"/>
              <a:gd name="connsiteX10" fmla="*/ 10303329 w 10303329"/>
              <a:gd name="connsiteY10" fmla="*/ 1048504 h 22223944"/>
              <a:gd name="connsiteX11" fmla="*/ 10303329 w 10303329"/>
              <a:gd name="connsiteY11" fmla="*/ 21176198 h 22223944"/>
              <a:gd name="connsiteX12" fmla="*/ 9255583 w 10303329"/>
              <a:gd name="connsiteY12" fmla="*/ 22223944 h 22223944"/>
              <a:gd name="connsiteX13" fmla="*/ 1047746 w 10303329"/>
              <a:gd name="connsiteY13" fmla="*/ 22223944 h 22223944"/>
              <a:gd name="connsiteX14" fmla="*/ 0 w 10303329"/>
              <a:gd name="connsiteY14" fmla="*/ 21176198 h 22223944"/>
              <a:gd name="connsiteX15" fmla="*/ 0 w 10303329"/>
              <a:gd name="connsiteY15" fmla="*/ 1048504 h 22223944"/>
              <a:gd name="connsiteX0" fmla="*/ 0 w 10303329"/>
              <a:gd name="connsiteY0" fmla="*/ 1048504 h 22223944"/>
              <a:gd name="connsiteX1" fmla="*/ 1047746 w 10303329"/>
              <a:gd name="connsiteY1" fmla="*/ 758 h 22223944"/>
              <a:gd name="connsiteX2" fmla="*/ 2206735 w 10303329"/>
              <a:gd name="connsiteY2" fmla="*/ 18989 h 22223944"/>
              <a:gd name="connsiteX3" fmla="*/ 2382149 w 10303329"/>
              <a:gd name="connsiteY3" fmla="*/ 587160 h 22223944"/>
              <a:gd name="connsiteX4" fmla="*/ 2775858 w 10303329"/>
              <a:gd name="connsiteY4" fmla="*/ 833513 h 22223944"/>
              <a:gd name="connsiteX5" fmla="*/ 7331528 w 10303329"/>
              <a:gd name="connsiteY5" fmla="*/ 833515 h 22223944"/>
              <a:gd name="connsiteX6" fmla="*/ 7894864 w 10303329"/>
              <a:gd name="connsiteY6" fmla="*/ 596751 h 22223944"/>
              <a:gd name="connsiteX7" fmla="*/ 8017329 w 10303329"/>
              <a:gd name="connsiteY7" fmla="*/ 204865 h 22223944"/>
              <a:gd name="connsiteX8" fmla="*/ 8147957 w 10303329"/>
              <a:gd name="connsiteY8" fmla="*/ 25250 h 22223944"/>
              <a:gd name="connsiteX9" fmla="*/ 9255583 w 10303329"/>
              <a:gd name="connsiteY9" fmla="*/ 758 h 22223944"/>
              <a:gd name="connsiteX10" fmla="*/ 10303329 w 10303329"/>
              <a:gd name="connsiteY10" fmla="*/ 1048504 h 22223944"/>
              <a:gd name="connsiteX11" fmla="*/ 10303329 w 10303329"/>
              <a:gd name="connsiteY11" fmla="*/ 21176198 h 22223944"/>
              <a:gd name="connsiteX12" fmla="*/ 9255583 w 10303329"/>
              <a:gd name="connsiteY12" fmla="*/ 22223944 h 22223944"/>
              <a:gd name="connsiteX13" fmla="*/ 1047746 w 10303329"/>
              <a:gd name="connsiteY13" fmla="*/ 22223944 h 22223944"/>
              <a:gd name="connsiteX14" fmla="*/ 0 w 10303329"/>
              <a:gd name="connsiteY14" fmla="*/ 21176198 h 22223944"/>
              <a:gd name="connsiteX15" fmla="*/ 0 w 10303329"/>
              <a:gd name="connsiteY15" fmla="*/ 1048504 h 22223944"/>
              <a:gd name="connsiteX0" fmla="*/ 0 w 10303329"/>
              <a:gd name="connsiteY0" fmla="*/ 1048504 h 22223944"/>
              <a:gd name="connsiteX1" fmla="*/ 1047746 w 10303329"/>
              <a:gd name="connsiteY1" fmla="*/ 758 h 22223944"/>
              <a:gd name="connsiteX2" fmla="*/ 2206735 w 10303329"/>
              <a:gd name="connsiteY2" fmla="*/ 18989 h 22223944"/>
              <a:gd name="connsiteX3" fmla="*/ 2382149 w 10303329"/>
              <a:gd name="connsiteY3" fmla="*/ 587160 h 22223944"/>
              <a:gd name="connsiteX4" fmla="*/ 2775858 w 10303329"/>
              <a:gd name="connsiteY4" fmla="*/ 833513 h 22223944"/>
              <a:gd name="connsiteX5" fmla="*/ 7331528 w 10303329"/>
              <a:gd name="connsiteY5" fmla="*/ 833515 h 22223944"/>
              <a:gd name="connsiteX6" fmla="*/ 7894864 w 10303329"/>
              <a:gd name="connsiteY6" fmla="*/ 596751 h 22223944"/>
              <a:gd name="connsiteX7" fmla="*/ 8017329 w 10303329"/>
              <a:gd name="connsiteY7" fmla="*/ 204865 h 22223944"/>
              <a:gd name="connsiteX8" fmla="*/ 8147957 w 10303329"/>
              <a:gd name="connsiteY8" fmla="*/ 25250 h 22223944"/>
              <a:gd name="connsiteX9" fmla="*/ 9255583 w 10303329"/>
              <a:gd name="connsiteY9" fmla="*/ 758 h 22223944"/>
              <a:gd name="connsiteX10" fmla="*/ 10303329 w 10303329"/>
              <a:gd name="connsiteY10" fmla="*/ 1048504 h 22223944"/>
              <a:gd name="connsiteX11" fmla="*/ 10303329 w 10303329"/>
              <a:gd name="connsiteY11" fmla="*/ 21176198 h 22223944"/>
              <a:gd name="connsiteX12" fmla="*/ 9255583 w 10303329"/>
              <a:gd name="connsiteY12" fmla="*/ 22223944 h 22223944"/>
              <a:gd name="connsiteX13" fmla="*/ 1047746 w 10303329"/>
              <a:gd name="connsiteY13" fmla="*/ 22223944 h 22223944"/>
              <a:gd name="connsiteX14" fmla="*/ 0 w 10303329"/>
              <a:gd name="connsiteY14" fmla="*/ 21176198 h 22223944"/>
              <a:gd name="connsiteX15" fmla="*/ 0 w 10303329"/>
              <a:gd name="connsiteY15" fmla="*/ 1048504 h 22223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303329" h="22223944">
                <a:moveTo>
                  <a:pt x="0" y="1048504"/>
                </a:moveTo>
                <a:cubicBezTo>
                  <a:pt x="0" y="469850"/>
                  <a:pt x="469092" y="758"/>
                  <a:pt x="1047746" y="758"/>
                </a:cubicBezTo>
                <a:lnTo>
                  <a:pt x="2206735" y="18989"/>
                </a:lnTo>
                <a:cubicBezTo>
                  <a:pt x="2341538" y="26227"/>
                  <a:pt x="2242035" y="356948"/>
                  <a:pt x="2382149" y="587160"/>
                </a:cubicBezTo>
                <a:cubicBezTo>
                  <a:pt x="2507943" y="745479"/>
                  <a:pt x="2650063" y="830316"/>
                  <a:pt x="2775858" y="833513"/>
                </a:cubicBezTo>
                <a:lnTo>
                  <a:pt x="7331528" y="833515"/>
                </a:lnTo>
                <a:cubicBezTo>
                  <a:pt x="7513864" y="838958"/>
                  <a:pt x="7737020" y="844400"/>
                  <a:pt x="7894864" y="596751"/>
                </a:cubicBezTo>
                <a:cubicBezTo>
                  <a:pt x="7984671" y="467483"/>
                  <a:pt x="8011886" y="387201"/>
                  <a:pt x="8017329" y="204865"/>
                </a:cubicBezTo>
                <a:cubicBezTo>
                  <a:pt x="7998279" y="128665"/>
                  <a:pt x="8031388" y="34775"/>
                  <a:pt x="8147957" y="25250"/>
                </a:cubicBezTo>
                <a:cubicBezTo>
                  <a:pt x="8347529" y="13004"/>
                  <a:pt x="8802465" y="-3778"/>
                  <a:pt x="9255583" y="758"/>
                </a:cubicBezTo>
                <a:cubicBezTo>
                  <a:pt x="9834237" y="758"/>
                  <a:pt x="10303329" y="469850"/>
                  <a:pt x="10303329" y="1048504"/>
                </a:cubicBezTo>
                <a:lnTo>
                  <a:pt x="10303329" y="21176198"/>
                </a:lnTo>
                <a:cubicBezTo>
                  <a:pt x="10303329" y="21754852"/>
                  <a:pt x="9834237" y="22223944"/>
                  <a:pt x="9255583" y="22223944"/>
                </a:cubicBezTo>
                <a:lnTo>
                  <a:pt x="1047746" y="22223944"/>
                </a:lnTo>
                <a:cubicBezTo>
                  <a:pt x="469092" y="22223944"/>
                  <a:pt x="0" y="21754852"/>
                  <a:pt x="0" y="21176198"/>
                </a:cubicBezTo>
                <a:lnTo>
                  <a:pt x="0" y="1048504"/>
                </a:lnTo>
                <a:close/>
              </a:path>
            </a:pathLst>
          </a:cu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2661269" y="1050717"/>
            <a:ext cx="2275383" cy="4907833"/>
          </a:xfrm>
          <a:custGeom>
            <a:avLst/>
            <a:gdLst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9255583 w 10303329"/>
              <a:gd name="connsiteY2" fmla="*/ 0 h 22223186"/>
              <a:gd name="connsiteX3" fmla="*/ 10303329 w 10303329"/>
              <a:gd name="connsiteY3" fmla="*/ 1047746 h 22223186"/>
              <a:gd name="connsiteX4" fmla="*/ 10303329 w 10303329"/>
              <a:gd name="connsiteY4" fmla="*/ 21175440 h 22223186"/>
              <a:gd name="connsiteX5" fmla="*/ 9255583 w 10303329"/>
              <a:gd name="connsiteY5" fmla="*/ 22223186 h 22223186"/>
              <a:gd name="connsiteX6" fmla="*/ 1047746 w 10303329"/>
              <a:gd name="connsiteY6" fmla="*/ 22223186 h 22223186"/>
              <a:gd name="connsiteX7" fmla="*/ 0 w 10303329"/>
              <a:gd name="connsiteY7" fmla="*/ 21175440 h 22223186"/>
              <a:gd name="connsiteX8" fmla="*/ 0 w 10303329"/>
              <a:gd name="connsiteY8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645229 w 10303329"/>
              <a:gd name="connsiteY2" fmla="*/ 16328 h 22223186"/>
              <a:gd name="connsiteX3" fmla="*/ 9255583 w 10303329"/>
              <a:gd name="connsiteY3" fmla="*/ 0 h 22223186"/>
              <a:gd name="connsiteX4" fmla="*/ 10303329 w 10303329"/>
              <a:gd name="connsiteY4" fmla="*/ 1047746 h 22223186"/>
              <a:gd name="connsiteX5" fmla="*/ 10303329 w 10303329"/>
              <a:gd name="connsiteY5" fmla="*/ 21175440 h 22223186"/>
              <a:gd name="connsiteX6" fmla="*/ 9255583 w 10303329"/>
              <a:gd name="connsiteY6" fmla="*/ 22223186 h 22223186"/>
              <a:gd name="connsiteX7" fmla="*/ 1047746 w 10303329"/>
              <a:gd name="connsiteY7" fmla="*/ 22223186 h 22223186"/>
              <a:gd name="connsiteX8" fmla="*/ 0 w 10303329"/>
              <a:gd name="connsiteY8" fmla="*/ 21175440 h 22223186"/>
              <a:gd name="connsiteX9" fmla="*/ 0 w 10303329"/>
              <a:gd name="connsiteY9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645229 w 10303329"/>
              <a:gd name="connsiteY2" fmla="*/ 16328 h 22223186"/>
              <a:gd name="connsiteX3" fmla="*/ 7805057 w 10303329"/>
              <a:gd name="connsiteY3" fmla="*/ 32657 h 22223186"/>
              <a:gd name="connsiteX4" fmla="*/ 9255583 w 10303329"/>
              <a:gd name="connsiteY4" fmla="*/ 0 h 22223186"/>
              <a:gd name="connsiteX5" fmla="*/ 10303329 w 10303329"/>
              <a:gd name="connsiteY5" fmla="*/ 1047746 h 22223186"/>
              <a:gd name="connsiteX6" fmla="*/ 10303329 w 10303329"/>
              <a:gd name="connsiteY6" fmla="*/ 21175440 h 22223186"/>
              <a:gd name="connsiteX7" fmla="*/ 9255583 w 10303329"/>
              <a:gd name="connsiteY7" fmla="*/ 22223186 h 22223186"/>
              <a:gd name="connsiteX8" fmla="*/ 1047746 w 10303329"/>
              <a:gd name="connsiteY8" fmla="*/ 22223186 h 22223186"/>
              <a:gd name="connsiteX9" fmla="*/ 0 w 10303329"/>
              <a:gd name="connsiteY9" fmla="*/ 21175440 h 22223186"/>
              <a:gd name="connsiteX10" fmla="*/ 0 w 10303329"/>
              <a:gd name="connsiteY10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759529 w 10303329"/>
              <a:gd name="connsiteY2" fmla="*/ 865413 h 22223186"/>
              <a:gd name="connsiteX3" fmla="*/ 7805057 w 10303329"/>
              <a:gd name="connsiteY3" fmla="*/ 32657 h 22223186"/>
              <a:gd name="connsiteX4" fmla="*/ 9255583 w 10303329"/>
              <a:gd name="connsiteY4" fmla="*/ 0 h 22223186"/>
              <a:gd name="connsiteX5" fmla="*/ 10303329 w 10303329"/>
              <a:gd name="connsiteY5" fmla="*/ 1047746 h 22223186"/>
              <a:gd name="connsiteX6" fmla="*/ 10303329 w 10303329"/>
              <a:gd name="connsiteY6" fmla="*/ 21175440 h 22223186"/>
              <a:gd name="connsiteX7" fmla="*/ 9255583 w 10303329"/>
              <a:gd name="connsiteY7" fmla="*/ 22223186 h 22223186"/>
              <a:gd name="connsiteX8" fmla="*/ 1047746 w 10303329"/>
              <a:gd name="connsiteY8" fmla="*/ 22223186 h 22223186"/>
              <a:gd name="connsiteX9" fmla="*/ 0 w 10303329"/>
              <a:gd name="connsiteY9" fmla="*/ 21175440 h 22223186"/>
              <a:gd name="connsiteX10" fmla="*/ 0 w 10303329"/>
              <a:gd name="connsiteY10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759529 w 10303329"/>
              <a:gd name="connsiteY2" fmla="*/ 865413 h 22223186"/>
              <a:gd name="connsiteX3" fmla="*/ 7331528 w 10303329"/>
              <a:gd name="connsiteY3" fmla="*/ 832757 h 22223186"/>
              <a:gd name="connsiteX4" fmla="*/ 9255583 w 10303329"/>
              <a:gd name="connsiteY4" fmla="*/ 0 h 22223186"/>
              <a:gd name="connsiteX5" fmla="*/ 10303329 w 10303329"/>
              <a:gd name="connsiteY5" fmla="*/ 1047746 h 22223186"/>
              <a:gd name="connsiteX6" fmla="*/ 10303329 w 10303329"/>
              <a:gd name="connsiteY6" fmla="*/ 21175440 h 22223186"/>
              <a:gd name="connsiteX7" fmla="*/ 9255583 w 10303329"/>
              <a:gd name="connsiteY7" fmla="*/ 22223186 h 22223186"/>
              <a:gd name="connsiteX8" fmla="*/ 1047746 w 10303329"/>
              <a:gd name="connsiteY8" fmla="*/ 22223186 h 22223186"/>
              <a:gd name="connsiteX9" fmla="*/ 0 w 10303329"/>
              <a:gd name="connsiteY9" fmla="*/ 21175440 h 22223186"/>
              <a:gd name="connsiteX10" fmla="*/ 0 w 10303329"/>
              <a:gd name="connsiteY10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1496522 w 10303329"/>
              <a:gd name="connsiteY2" fmla="*/ 222417 h 22223186"/>
              <a:gd name="connsiteX3" fmla="*/ 2759529 w 10303329"/>
              <a:gd name="connsiteY3" fmla="*/ 865413 h 22223186"/>
              <a:gd name="connsiteX4" fmla="*/ 7331528 w 10303329"/>
              <a:gd name="connsiteY4" fmla="*/ 832757 h 22223186"/>
              <a:gd name="connsiteX5" fmla="*/ 9255583 w 10303329"/>
              <a:gd name="connsiteY5" fmla="*/ 0 h 22223186"/>
              <a:gd name="connsiteX6" fmla="*/ 10303329 w 10303329"/>
              <a:gd name="connsiteY6" fmla="*/ 1047746 h 22223186"/>
              <a:gd name="connsiteX7" fmla="*/ 10303329 w 10303329"/>
              <a:gd name="connsiteY7" fmla="*/ 21175440 h 22223186"/>
              <a:gd name="connsiteX8" fmla="*/ 9255583 w 10303329"/>
              <a:gd name="connsiteY8" fmla="*/ 22223186 h 22223186"/>
              <a:gd name="connsiteX9" fmla="*/ 1047746 w 10303329"/>
              <a:gd name="connsiteY9" fmla="*/ 22223186 h 22223186"/>
              <a:gd name="connsiteX10" fmla="*/ 0 w 10303329"/>
              <a:gd name="connsiteY10" fmla="*/ 21175440 h 22223186"/>
              <a:gd name="connsiteX11" fmla="*/ 0 w 10303329"/>
              <a:gd name="connsiteY11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759529 w 10303329"/>
              <a:gd name="connsiteY3" fmla="*/ 865413 h 22223186"/>
              <a:gd name="connsiteX4" fmla="*/ 7331528 w 10303329"/>
              <a:gd name="connsiteY4" fmla="*/ 832757 h 22223186"/>
              <a:gd name="connsiteX5" fmla="*/ 9255583 w 10303329"/>
              <a:gd name="connsiteY5" fmla="*/ 0 h 22223186"/>
              <a:gd name="connsiteX6" fmla="*/ 10303329 w 10303329"/>
              <a:gd name="connsiteY6" fmla="*/ 1047746 h 22223186"/>
              <a:gd name="connsiteX7" fmla="*/ 10303329 w 10303329"/>
              <a:gd name="connsiteY7" fmla="*/ 21175440 h 22223186"/>
              <a:gd name="connsiteX8" fmla="*/ 9255583 w 10303329"/>
              <a:gd name="connsiteY8" fmla="*/ 22223186 h 22223186"/>
              <a:gd name="connsiteX9" fmla="*/ 1047746 w 10303329"/>
              <a:gd name="connsiteY9" fmla="*/ 22223186 h 22223186"/>
              <a:gd name="connsiteX10" fmla="*/ 0 w 10303329"/>
              <a:gd name="connsiteY10" fmla="*/ 21175440 h 22223186"/>
              <a:gd name="connsiteX11" fmla="*/ 0 w 10303329"/>
              <a:gd name="connsiteY11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464188 w 10303329"/>
              <a:gd name="connsiteY3" fmla="*/ 417726 h 22223186"/>
              <a:gd name="connsiteX4" fmla="*/ 2759529 w 10303329"/>
              <a:gd name="connsiteY4" fmla="*/ 865413 h 22223186"/>
              <a:gd name="connsiteX5" fmla="*/ 7331528 w 10303329"/>
              <a:gd name="connsiteY5" fmla="*/ 832757 h 22223186"/>
              <a:gd name="connsiteX6" fmla="*/ 9255583 w 10303329"/>
              <a:gd name="connsiteY6" fmla="*/ 0 h 22223186"/>
              <a:gd name="connsiteX7" fmla="*/ 10303329 w 10303329"/>
              <a:gd name="connsiteY7" fmla="*/ 1047746 h 22223186"/>
              <a:gd name="connsiteX8" fmla="*/ 10303329 w 10303329"/>
              <a:gd name="connsiteY8" fmla="*/ 21175440 h 22223186"/>
              <a:gd name="connsiteX9" fmla="*/ 9255583 w 10303329"/>
              <a:gd name="connsiteY9" fmla="*/ 22223186 h 22223186"/>
              <a:gd name="connsiteX10" fmla="*/ 1047746 w 10303329"/>
              <a:gd name="connsiteY10" fmla="*/ 22223186 h 22223186"/>
              <a:gd name="connsiteX11" fmla="*/ 0 w 10303329"/>
              <a:gd name="connsiteY11" fmla="*/ 21175440 h 22223186"/>
              <a:gd name="connsiteX12" fmla="*/ 0 w 10303329"/>
              <a:gd name="connsiteY12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57656 w 10303329"/>
              <a:gd name="connsiteY3" fmla="*/ 586402 h 22223186"/>
              <a:gd name="connsiteX4" fmla="*/ 2759529 w 10303329"/>
              <a:gd name="connsiteY4" fmla="*/ 865413 h 22223186"/>
              <a:gd name="connsiteX5" fmla="*/ 7331528 w 10303329"/>
              <a:gd name="connsiteY5" fmla="*/ 832757 h 22223186"/>
              <a:gd name="connsiteX6" fmla="*/ 9255583 w 10303329"/>
              <a:gd name="connsiteY6" fmla="*/ 0 h 22223186"/>
              <a:gd name="connsiteX7" fmla="*/ 10303329 w 10303329"/>
              <a:gd name="connsiteY7" fmla="*/ 1047746 h 22223186"/>
              <a:gd name="connsiteX8" fmla="*/ 10303329 w 10303329"/>
              <a:gd name="connsiteY8" fmla="*/ 21175440 h 22223186"/>
              <a:gd name="connsiteX9" fmla="*/ 9255583 w 10303329"/>
              <a:gd name="connsiteY9" fmla="*/ 22223186 h 22223186"/>
              <a:gd name="connsiteX10" fmla="*/ 1047746 w 10303329"/>
              <a:gd name="connsiteY10" fmla="*/ 22223186 h 22223186"/>
              <a:gd name="connsiteX11" fmla="*/ 0 w 10303329"/>
              <a:gd name="connsiteY11" fmla="*/ 21175440 h 22223186"/>
              <a:gd name="connsiteX12" fmla="*/ 0 w 10303329"/>
              <a:gd name="connsiteY12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57656 w 10303329"/>
              <a:gd name="connsiteY3" fmla="*/ 586402 h 22223186"/>
              <a:gd name="connsiteX4" fmla="*/ 2759529 w 10303329"/>
              <a:gd name="connsiteY4" fmla="*/ 865413 h 22223186"/>
              <a:gd name="connsiteX5" fmla="*/ 7331528 w 10303329"/>
              <a:gd name="connsiteY5" fmla="*/ 832757 h 22223186"/>
              <a:gd name="connsiteX6" fmla="*/ 9255583 w 10303329"/>
              <a:gd name="connsiteY6" fmla="*/ 0 h 22223186"/>
              <a:gd name="connsiteX7" fmla="*/ 10303329 w 10303329"/>
              <a:gd name="connsiteY7" fmla="*/ 1047746 h 22223186"/>
              <a:gd name="connsiteX8" fmla="*/ 10303329 w 10303329"/>
              <a:gd name="connsiteY8" fmla="*/ 21175440 h 22223186"/>
              <a:gd name="connsiteX9" fmla="*/ 9255583 w 10303329"/>
              <a:gd name="connsiteY9" fmla="*/ 22223186 h 22223186"/>
              <a:gd name="connsiteX10" fmla="*/ 1047746 w 10303329"/>
              <a:gd name="connsiteY10" fmla="*/ 22223186 h 22223186"/>
              <a:gd name="connsiteX11" fmla="*/ 0 w 10303329"/>
              <a:gd name="connsiteY11" fmla="*/ 21175440 h 22223186"/>
              <a:gd name="connsiteX12" fmla="*/ 0 w 10303329"/>
              <a:gd name="connsiteY12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57656 w 10303329"/>
              <a:gd name="connsiteY3" fmla="*/ 586402 h 22223186"/>
              <a:gd name="connsiteX4" fmla="*/ 2759529 w 10303329"/>
              <a:gd name="connsiteY4" fmla="*/ 865413 h 22223186"/>
              <a:gd name="connsiteX5" fmla="*/ 7331528 w 10303329"/>
              <a:gd name="connsiteY5" fmla="*/ 832757 h 22223186"/>
              <a:gd name="connsiteX6" fmla="*/ 9255583 w 10303329"/>
              <a:gd name="connsiteY6" fmla="*/ 0 h 22223186"/>
              <a:gd name="connsiteX7" fmla="*/ 10303329 w 10303329"/>
              <a:gd name="connsiteY7" fmla="*/ 1047746 h 22223186"/>
              <a:gd name="connsiteX8" fmla="*/ 10303329 w 10303329"/>
              <a:gd name="connsiteY8" fmla="*/ 21175440 h 22223186"/>
              <a:gd name="connsiteX9" fmla="*/ 9255583 w 10303329"/>
              <a:gd name="connsiteY9" fmla="*/ 22223186 h 22223186"/>
              <a:gd name="connsiteX10" fmla="*/ 1047746 w 10303329"/>
              <a:gd name="connsiteY10" fmla="*/ 22223186 h 22223186"/>
              <a:gd name="connsiteX11" fmla="*/ 0 w 10303329"/>
              <a:gd name="connsiteY11" fmla="*/ 21175440 h 22223186"/>
              <a:gd name="connsiteX12" fmla="*/ 0 w 10303329"/>
              <a:gd name="connsiteY12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57656 w 10303329"/>
              <a:gd name="connsiteY3" fmla="*/ 586402 h 22223186"/>
              <a:gd name="connsiteX4" fmla="*/ 2759529 w 10303329"/>
              <a:gd name="connsiteY4" fmla="*/ 865413 h 22223186"/>
              <a:gd name="connsiteX5" fmla="*/ 7331528 w 10303329"/>
              <a:gd name="connsiteY5" fmla="*/ 832757 h 22223186"/>
              <a:gd name="connsiteX6" fmla="*/ 9255583 w 10303329"/>
              <a:gd name="connsiteY6" fmla="*/ 0 h 22223186"/>
              <a:gd name="connsiteX7" fmla="*/ 10303329 w 10303329"/>
              <a:gd name="connsiteY7" fmla="*/ 1047746 h 22223186"/>
              <a:gd name="connsiteX8" fmla="*/ 10303329 w 10303329"/>
              <a:gd name="connsiteY8" fmla="*/ 21175440 h 22223186"/>
              <a:gd name="connsiteX9" fmla="*/ 9255583 w 10303329"/>
              <a:gd name="connsiteY9" fmla="*/ 22223186 h 22223186"/>
              <a:gd name="connsiteX10" fmla="*/ 1047746 w 10303329"/>
              <a:gd name="connsiteY10" fmla="*/ 22223186 h 22223186"/>
              <a:gd name="connsiteX11" fmla="*/ 0 w 10303329"/>
              <a:gd name="connsiteY11" fmla="*/ 21175440 h 22223186"/>
              <a:gd name="connsiteX12" fmla="*/ 0 w 10303329"/>
              <a:gd name="connsiteY12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57656 w 10303329"/>
              <a:gd name="connsiteY3" fmla="*/ 586402 h 22223186"/>
              <a:gd name="connsiteX4" fmla="*/ 2759529 w 10303329"/>
              <a:gd name="connsiteY4" fmla="*/ 865413 h 22223186"/>
              <a:gd name="connsiteX5" fmla="*/ 7331528 w 10303329"/>
              <a:gd name="connsiteY5" fmla="*/ 832757 h 22223186"/>
              <a:gd name="connsiteX6" fmla="*/ 9255583 w 10303329"/>
              <a:gd name="connsiteY6" fmla="*/ 0 h 22223186"/>
              <a:gd name="connsiteX7" fmla="*/ 10303329 w 10303329"/>
              <a:gd name="connsiteY7" fmla="*/ 1047746 h 22223186"/>
              <a:gd name="connsiteX8" fmla="*/ 10303329 w 10303329"/>
              <a:gd name="connsiteY8" fmla="*/ 21175440 h 22223186"/>
              <a:gd name="connsiteX9" fmla="*/ 9255583 w 10303329"/>
              <a:gd name="connsiteY9" fmla="*/ 22223186 h 22223186"/>
              <a:gd name="connsiteX10" fmla="*/ 1047746 w 10303329"/>
              <a:gd name="connsiteY10" fmla="*/ 22223186 h 22223186"/>
              <a:gd name="connsiteX11" fmla="*/ 0 w 10303329"/>
              <a:gd name="connsiteY11" fmla="*/ 21175440 h 22223186"/>
              <a:gd name="connsiteX12" fmla="*/ 0 w 10303329"/>
              <a:gd name="connsiteY12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57656 w 10303329"/>
              <a:gd name="connsiteY3" fmla="*/ 586402 h 22223186"/>
              <a:gd name="connsiteX4" fmla="*/ 2751365 w 10303329"/>
              <a:gd name="connsiteY4" fmla="*/ 857248 h 22223186"/>
              <a:gd name="connsiteX5" fmla="*/ 7331528 w 10303329"/>
              <a:gd name="connsiteY5" fmla="*/ 832757 h 22223186"/>
              <a:gd name="connsiteX6" fmla="*/ 9255583 w 10303329"/>
              <a:gd name="connsiteY6" fmla="*/ 0 h 22223186"/>
              <a:gd name="connsiteX7" fmla="*/ 10303329 w 10303329"/>
              <a:gd name="connsiteY7" fmla="*/ 1047746 h 22223186"/>
              <a:gd name="connsiteX8" fmla="*/ 10303329 w 10303329"/>
              <a:gd name="connsiteY8" fmla="*/ 21175440 h 22223186"/>
              <a:gd name="connsiteX9" fmla="*/ 9255583 w 10303329"/>
              <a:gd name="connsiteY9" fmla="*/ 22223186 h 22223186"/>
              <a:gd name="connsiteX10" fmla="*/ 1047746 w 10303329"/>
              <a:gd name="connsiteY10" fmla="*/ 22223186 h 22223186"/>
              <a:gd name="connsiteX11" fmla="*/ 0 w 10303329"/>
              <a:gd name="connsiteY11" fmla="*/ 21175440 h 22223186"/>
              <a:gd name="connsiteX12" fmla="*/ 0 w 10303329"/>
              <a:gd name="connsiteY12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57656 w 10303329"/>
              <a:gd name="connsiteY3" fmla="*/ 586402 h 22223186"/>
              <a:gd name="connsiteX4" fmla="*/ 2751365 w 10303329"/>
              <a:gd name="connsiteY4" fmla="*/ 857248 h 22223186"/>
              <a:gd name="connsiteX5" fmla="*/ 7331528 w 10303329"/>
              <a:gd name="connsiteY5" fmla="*/ 832757 h 22223186"/>
              <a:gd name="connsiteX6" fmla="*/ 9255583 w 10303329"/>
              <a:gd name="connsiteY6" fmla="*/ 0 h 22223186"/>
              <a:gd name="connsiteX7" fmla="*/ 10303329 w 10303329"/>
              <a:gd name="connsiteY7" fmla="*/ 1047746 h 22223186"/>
              <a:gd name="connsiteX8" fmla="*/ 10303329 w 10303329"/>
              <a:gd name="connsiteY8" fmla="*/ 21175440 h 22223186"/>
              <a:gd name="connsiteX9" fmla="*/ 9255583 w 10303329"/>
              <a:gd name="connsiteY9" fmla="*/ 22223186 h 22223186"/>
              <a:gd name="connsiteX10" fmla="*/ 1047746 w 10303329"/>
              <a:gd name="connsiteY10" fmla="*/ 22223186 h 22223186"/>
              <a:gd name="connsiteX11" fmla="*/ 0 w 10303329"/>
              <a:gd name="connsiteY11" fmla="*/ 21175440 h 22223186"/>
              <a:gd name="connsiteX12" fmla="*/ 0 w 10303329"/>
              <a:gd name="connsiteY12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57656 w 10303329"/>
              <a:gd name="connsiteY3" fmla="*/ 586402 h 22223186"/>
              <a:gd name="connsiteX4" fmla="*/ 2751365 w 10303329"/>
              <a:gd name="connsiteY4" fmla="*/ 857248 h 22223186"/>
              <a:gd name="connsiteX5" fmla="*/ 7331528 w 10303329"/>
              <a:gd name="connsiteY5" fmla="*/ 832757 h 22223186"/>
              <a:gd name="connsiteX6" fmla="*/ 9255583 w 10303329"/>
              <a:gd name="connsiteY6" fmla="*/ 0 h 22223186"/>
              <a:gd name="connsiteX7" fmla="*/ 10303329 w 10303329"/>
              <a:gd name="connsiteY7" fmla="*/ 1047746 h 22223186"/>
              <a:gd name="connsiteX8" fmla="*/ 10303329 w 10303329"/>
              <a:gd name="connsiteY8" fmla="*/ 21175440 h 22223186"/>
              <a:gd name="connsiteX9" fmla="*/ 9255583 w 10303329"/>
              <a:gd name="connsiteY9" fmla="*/ 22223186 h 22223186"/>
              <a:gd name="connsiteX10" fmla="*/ 1047746 w 10303329"/>
              <a:gd name="connsiteY10" fmla="*/ 22223186 h 22223186"/>
              <a:gd name="connsiteX11" fmla="*/ 0 w 10303329"/>
              <a:gd name="connsiteY11" fmla="*/ 21175440 h 22223186"/>
              <a:gd name="connsiteX12" fmla="*/ 0 w 10303329"/>
              <a:gd name="connsiteY12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57656 w 10303329"/>
              <a:gd name="connsiteY3" fmla="*/ 586402 h 22223186"/>
              <a:gd name="connsiteX4" fmla="*/ 2751365 w 10303329"/>
              <a:gd name="connsiteY4" fmla="*/ 857248 h 22223186"/>
              <a:gd name="connsiteX5" fmla="*/ 7331528 w 10303329"/>
              <a:gd name="connsiteY5" fmla="*/ 832757 h 22223186"/>
              <a:gd name="connsiteX6" fmla="*/ 9255583 w 10303329"/>
              <a:gd name="connsiteY6" fmla="*/ 0 h 22223186"/>
              <a:gd name="connsiteX7" fmla="*/ 10303329 w 10303329"/>
              <a:gd name="connsiteY7" fmla="*/ 1047746 h 22223186"/>
              <a:gd name="connsiteX8" fmla="*/ 10303329 w 10303329"/>
              <a:gd name="connsiteY8" fmla="*/ 21175440 h 22223186"/>
              <a:gd name="connsiteX9" fmla="*/ 9255583 w 10303329"/>
              <a:gd name="connsiteY9" fmla="*/ 22223186 h 22223186"/>
              <a:gd name="connsiteX10" fmla="*/ 1047746 w 10303329"/>
              <a:gd name="connsiteY10" fmla="*/ 22223186 h 22223186"/>
              <a:gd name="connsiteX11" fmla="*/ 0 w 10303329"/>
              <a:gd name="connsiteY11" fmla="*/ 21175440 h 22223186"/>
              <a:gd name="connsiteX12" fmla="*/ 0 w 10303329"/>
              <a:gd name="connsiteY12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57656 w 10303329"/>
              <a:gd name="connsiteY3" fmla="*/ 586402 h 22223186"/>
              <a:gd name="connsiteX4" fmla="*/ 2751365 w 10303329"/>
              <a:gd name="connsiteY4" fmla="*/ 857248 h 22223186"/>
              <a:gd name="connsiteX5" fmla="*/ 7331528 w 10303329"/>
              <a:gd name="connsiteY5" fmla="*/ 832757 h 22223186"/>
              <a:gd name="connsiteX6" fmla="*/ 8147957 w 10303329"/>
              <a:gd name="connsiteY6" fmla="*/ 481693 h 22223186"/>
              <a:gd name="connsiteX7" fmla="*/ 9255583 w 10303329"/>
              <a:gd name="connsiteY7" fmla="*/ 0 h 22223186"/>
              <a:gd name="connsiteX8" fmla="*/ 10303329 w 10303329"/>
              <a:gd name="connsiteY8" fmla="*/ 1047746 h 22223186"/>
              <a:gd name="connsiteX9" fmla="*/ 10303329 w 10303329"/>
              <a:gd name="connsiteY9" fmla="*/ 21175440 h 22223186"/>
              <a:gd name="connsiteX10" fmla="*/ 9255583 w 10303329"/>
              <a:gd name="connsiteY10" fmla="*/ 22223186 h 22223186"/>
              <a:gd name="connsiteX11" fmla="*/ 1047746 w 10303329"/>
              <a:gd name="connsiteY11" fmla="*/ 22223186 h 22223186"/>
              <a:gd name="connsiteX12" fmla="*/ 0 w 10303329"/>
              <a:gd name="connsiteY12" fmla="*/ 21175440 h 22223186"/>
              <a:gd name="connsiteX13" fmla="*/ 0 w 10303329"/>
              <a:gd name="connsiteY13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57656 w 10303329"/>
              <a:gd name="connsiteY3" fmla="*/ 586402 h 22223186"/>
              <a:gd name="connsiteX4" fmla="*/ 2751365 w 10303329"/>
              <a:gd name="connsiteY4" fmla="*/ 857248 h 22223186"/>
              <a:gd name="connsiteX5" fmla="*/ 7331528 w 10303329"/>
              <a:gd name="connsiteY5" fmla="*/ 832757 h 22223186"/>
              <a:gd name="connsiteX6" fmla="*/ 8221435 w 10303329"/>
              <a:gd name="connsiteY6" fmla="*/ 0 h 22223186"/>
              <a:gd name="connsiteX7" fmla="*/ 9255583 w 10303329"/>
              <a:gd name="connsiteY7" fmla="*/ 0 h 22223186"/>
              <a:gd name="connsiteX8" fmla="*/ 10303329 w 10303329"/>
              <a:gd name="connsiteY8" fmla="*/ 1047746 h 22223186"/>
              <a:gd name="connsiteX9" fmla="*/ 10303329 w 10303329"/>
              <a:gd name="connsiteY9" fmla="*/ 21175440 h 22223186"/>
              <a:gd name="connsiteX10" fmla="*/ 9255583 w 10303329"/>
              <a:gd name="connsiteY10" fmla="*/ 22223186 h 22223186"/>
              <a:gd name="connsiteX11" fmla="*/ 1047746 w 10303329"/>
              <a:gd name="connsiteY11" fmla="*/ 22223186 h 22223186"/>
              <a:gd name="connsiteX12" fmla="*/ 0 w 10303329"/>
              <a:gd name="connsiteY12" fmla="*/ 21175440 h 22223186"/>
              <a:gd name="connsiteX13" fmla="*/ 0 w 10303329"/>
              <a:gd name="connsiteY13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57656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8221435 w 10303329"/>
              <a:gd name="connsiteY6" fmla="*/ 0 h 22223186"/>
              <a:gd name="connsiteX7" fmla="*/ 9255583 w 10303329"/>
              <a:gd name="connsiteY7" fmla="*/ 0 h 22223186"/>
              <a:gd name="connsiteX8" fmla="*/ 10303329 w 10303329"/>
              <a:gd name="connsiteY8" fmla="*/ 1047746 h 22223186"/>
              <a:gd name="connsiteX9" fmla="*/ 10303329 w 10303329"/>
              <a:gd name="connsiteY9" fmla="*/ 21175440 h 22223186"/>
              <a:gd name="connsiteX10" fmla="*/ 9255583 w 10303329"/>
              <a:gd name="connsiteY10" fmla="*/ 22223186 h 22223186"/>
              <a:gd name="connsiteX11" fmla="*/ 1047746 w 10303329"/>
              <a:gd name="connsiteY11" fmla="*/ 22223186 h 22223186"/>
              <a:gd name="connsiteX12" fmla="*/ 0 w 10303329"/>
              <a:gd name="connsiteY12" fmla="*/ 21175440 h 22223186"/>
              <a:gd name="connsiteX13" fmla="*/ 0 w 10303329"/>
              <a:gd name="connsiteY13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8221435 w 10303329"/>
              <a:gd name="connsiteY6" fmla="*/ 0 h 22223186"/>
              <a:gd name="connsiteX7" fmla="*/ 9255583 w 10303329"/>
              <a:gd name="connsiteY7" fmla="*/ 0 h 22223186"/>
              <a:gd name="connsiteX8" fmla="*/ 10303329 w 10303329"/>
              <a:gd name="connsiteY8" fmla="*/ 1047746 h 22223186"/>
              <a:gd name="connsiteX9" fmla="*/ 10303329 w 10303329"/>
              <a:gd name="connsiteY9" fmla="*/ 21175440 h 22223186"/>
              <a:gd name="connsiteX10" fmla="*/ 9255583 w 10303329"/>
              <a:gd name="connsiteY10" fmla="*/ 22223186 h 22223186"/>
              <a:gd name="connsiteX11" fmla="*/ 1047746 w 10303329"/>
              <a:gd name="connsiteY11" fmla="*/ 22223186 h 22223186"/>
              <a:gd name="connsiteX12" fmla="*/ 0 w 10303329"/>
              <a:gd name="connsiteY12" fmla="*/ 21175440 h 22223186"/>
              <a:gd name="connsiteX13" fmla="*/ 0 w 10303329"/>
              <a:gd name="connsiteY13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8221435 w 10303329"/>
              <a:gd name="connsiteY6" fmla="*/ 0 h 22223186"/>
              <a:gd name="connsiteX7" fmla="*/ 9255583 w 10303329"/>
              <a:gd name="connsiteY7" fmla="*/ 0 h 22223186"/>
              <a:gd name="connsiteX8" fmla="*/ 10303329 w 10303329"/>
              <a:gd name="connsiteY8" fmla="*/ 1047746 h 22223186"/>
              <a:gd name="connsiteX9" fmla="*/ 10303329 w 10303329"/>
              <a:gd name="connsiteY9" fmla="*/ 21175440 h 22223186"/>
              <a:gd name="connsiteX10" fmla="*/ 9255583 w 10303329"/>
              <a:gd name="connsiteY10" fmla="*/ 22223186 h 22223186"/>
              <a:gd name="connsiteX11" fmla="*/ 1047746 w 10303329"/>
              <a:gd name="connsiteY11" fmla="*/ 22223186 h 22223186"/>
              <a:gd name="connsiteX12" fmla="*/ 0 w 10303329"/>
              <a:gd name="connsiteY12" fmla="*/ 21175440 h 22223186"/>
              <a:gd name="connsiteX13" fmla="*/ 0 w 10303329"/>
              <a:gd name="connsiteY13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756072 w 10303329"/>
              <a:gd name="connsiteY6" fmla="*/ 432707 h 22223186"/>
              <a:gd name="connsiteX7" fmla="*/ 8221435 w 10303329"/>
              <a:gd name="connsiteY7" fmla="*/ 0 h 22223186"/>
              <a:gd name="connsiteX8" fmla="*/ 9255583 w 10303329"/>
              <a:gd name="connsiteY8" fmla="*/ 0 h 22223186"/>
              <a:gd name="connsiteX9" fmla="*/ 10303329 w 10303329"/>
              <a:gd name="connsiteY9" fmla="*/ 1047746 h 22223186"/>
              <a:gd name="connsiteX10" fmla="*/ 10303329 w 10303329"/>
              <a:gd name="connsiteY10" fmla="*/ 21175440 h 22223186"/>
              <a:gd name="connsiteX11" fmla="*/ 9255583 w 10303329"/>
              <a:gd name="connsiteY11" fmla="*/ 22223186 h 22223186"/>
              <a:gd name="connsiteX12" fmla="*/ 1047746 w 10303329"/>
              <a:gd name="connsiteY12" fmla="*/ 22223186 h 22223186"/>
              <a:gd name="connsiteX13" fmla="*/ 0 w 10303329"/>
              <a:gd name="connsiteY13" fmla="*/ 21175440 h 22223186"/>
              <a:gd name="connsiteX14" fmla="*/ 0 w 10303329"/>
              <a:gd name="connsiteY14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221435 w 10303329"/>
              <a:gd name="connsiteY7" fmla="*/ 0 h 22223186"/>
              <a:gd name="connsiteX8" fmla="*/ 9255583 w 10303329"/>
              <a:gd name="connsiteY8" fmla="*/ 0 h 22223186"/>
              <a:gd name="connsiteX9" fmla="*/ 10303329 w 10303329"/>
              <a:gd name="connsiteY9" fmla="*/ 1047746 h 22223186"/>
              <a:gd name="connsiteX10" fmla="*/ 10303329 w 10303329"/>
              <a:gd name="connsiteY10" fmla="*/ 21175440 h 22223186"/>
              <a:gd name="connsiteX11" fmla="*/ 9255583 w 10303329"/>
              <a:gd name="connsiteY11" fmla="*/ 22223186 h 22223186"/>
              <a:gd name="connsiteX12" fmla="*/ 1047746 w 10303329"/>
              <a:gd name="connsiteY12" fmla="*/ 22223186 h 22223186"/>
              <a:gd name="connsiteX13" fmla="*/ 0 w 10303329"/>
              <a:gd name="connsiteY13" fmla="*/ 21175440 h 22223186"/>
              <a:gd name="connsiteX14" fmla="*/ 0 w 10303329"/>
              <a:gd name="connsiteY14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221435 w 10303329"/>
              <a:gd name="connsiteY7" fmla="*/ 0 h 22223186"/>
              <a:gd name="connsiteX8" fmla="*/ 9255583 w 10303329"/>
              <a:gd name="connsiteY8" fmla="*/ 0 h 22223186"/>
              <a:gd name="connsiteX9" fmla="*/ 10303329 w 10303329"/>
              <a:gd name="connsiteY9" fmla="*/ 1047746 h 22223186"/>
              <a:gd name="connsiteX10" fmla="*/ 10303329 w 10303329"/>
              <a:gd name="connsiteY10" fmla="*/ 21175440 h 22223186"/>
              <a:gd name="connsiteX11" fmla="*/ 9255583 w 10303329"/>
              <a:gd name="connsiteY11" fmla="*/ 22223186 h 22223186"/>
              <a:gd name="connsiteX12" fmla="*/ 1047746 w 10303329"/>
              <a:gd name="connsiteY12" fmla="*/ 22223186 h 22223186"/>
              <a:gd name="connsiteX13" fmla="*/ 0 w 10303329"/>
              <a:gd name="connsiteY13" fmla="*/ 21175440 h 22223186"/>
              <a:gd name="connsiteX14" fmla="*/ 0 w 10303329"/>
              <a:gd name="connsiteY14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221435 w 10303329"/>
              <a:gd name="connsiteY7" fmla="*/ 0 h 22223186"/>
              <a:gd name="connsiteX8" fmla="*/ 9255583 w 10303329"/>
              <a:gd name="connsiteY8" fmla="*/ 0 h 22223186"/>
              <a:gd name="connsiteX9" fmla="*/ 10303329 w 10303329"/>
              <a:gd name="connsiteY9" fmla="*/ 1047746 h 22223186"/>
              <a:gd name="connsiteX10" fmla="*/ 10303329 w 10303329"/>
              <a:gd name="connsiteY10" fmla="*/ 21175440 h 22223186"/>
              <a:gd name="connsiteX11" fmla="*/ 9255583 w 10303329"/>
              <a:gd name="connsiteY11" fmla="*/ 22223186 h 22223186"/>
              <a:gd name="connsiteX12" fmla="*/ 1047746 w 10303329"/>
              <a:gd name="connsiteY12" fmla="*/ 22223186 h 22223186"/>
              <a:gd name="connsiteX13" fmla="*/ 0 w 10303329"/>
              <a:gd name="connsiteY13" fmla="*/ 21175440 h 22223186"/>
              <a:gd name="connsiteX14" fmla="*/ 0 w 10303329"/>
              <a:gd name="connsiteY14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066314 w 10303329"/>
              <a:gd name="connsiteY7" fmla="*/ 277586 h 22223186"/>
              <a:gd name="connsiteX8" fmla="*/ 8221435 w 10303329"/>
              <a:gd name="connsiteY8" fmla="*/ 0 h 22223186"/>
              <a:gd name="connsiteX9" fmla="*/ 9255583 w 10303329"/>
              <a:gd name="connsiteY9" fmla="*/ 0 h 22223186"/>
              <a:gd name="connsiteX10" fmla="*/ 10303329 w 10303329"/>
              <a:gd name="connsiteY10" fmla="*/ 1047746 h 22223186"/>
              <a:gd name="connsiteX11" fmla="*/ 10303329 w 10303329"/>
              <a:gd name="connsiteY11" fmla="*/ 21175440 h 22223186"/>
              <a:gd name="connsiteX12" fmla="*/ 9255583 w 10303329"/>
              <a:gd name="connsiteY12" fmla="*/ 22223186 h 22223186"/>
              <a:gd name="connsiteX13" fmla="*/ 1047746 w 10303329"/>
              <a:gd name="connsiteY13" fmla="*/ 22223186 h 22223186"/>
              <a:gd name="connsiteX14" fmla="*/ 0 w 10303329"/>
              <a:gd name="connsiteY14" fmla="*/ 21175440 h 22223186"/>
              <a:gd name="connsiteX15" fmla="*/ 0 w 10303329"/>
              <a:gd name="connsiteY15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058150 w 10303329"/>
              <a:gd name="connsiteY7" fmla="*/ 73478 h 22223186"/>
              <a:gd name="connsiteX8" fmla="*/ 8221435 w 10303329"/>
              <a:gd name="connsiteY8" fmla="*/ 0 h 22223186"/>
              <a:gd name="connsiteX9" fmla="*/ 9255583 w 10303329"/>
              <a:gd name="connsiteY9" fmla="*/ 0 h 22223186"/>
              <a:gd name="connsiteX10" fmla="*/ 10303329 w 10303329"/>
              <a:gd name="connsiteY10" fmla="*/ 1047746 h 22223186"/>
              <a:gd name="connsiteX11" fmla="*/ 10303329 w 10303329"/>
              <a:gd name="connsiteY11" fmla="*/ 21175440 h 22223186"/>
              <a:gd name="connsiteX12" fmla="*/ 9255583 w 10303329"/>
              <a:gd name="connsiteY12" fmla="*/ 22223186 h 22223186"/>
              <a:gd name="connsiteX13" fmla="*/ 1047746 w 10303329"/>
              <a:gd name="connsiteY13" fmla="*/ 22223186 h 22223186"/>
              <a:gd name="connsiteX14" fmla="*/ 0 w 10303329"/>
              <a:gd name="connsiteY14" fmla="*/ 21175440 h 22223186"/>
              <a:gd name="connsiteX15" fmla="*/ 0 w 10303329"/>
              <a:gd name="connsiteY15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058150 w 10303329"/>
              <a:gd name="connsiteY7" fmla="*/ 73478 h 22223186"/>
              <a:gd name="connsiteX8" fmla="*/ 8221435 w 10303329"/>
              <a:gd name="connsiteY8" fmla="*/ 0 h 22223186"/>
              <a:gd name="connsiteX9" fmla="*/ 9255583 w 10303329"/>
              <a:gd name="connsiteY9" fmla="*/ 0 h 22223186"/>
              <a:gd name="connsiteX10" fmla="*/ 10303329 w 10303329"/>
              <a:gd name="connsiteY10" fmla="*/ 1047746 h 22223186"/>
              <a:gd name="connsiteX11" fmla="*/ 10303329 w 10303329"/>
              <a:gd name="connsiteY11" fmla="*/ 21175440 h 22223186"/>
              <a:gd name="connsiteX12" fmla="*/ 9255583 w 10303329"/>
              <a:gd name="connsiteY12" fmla="*/ 22223186 h 22223186"/>
              <a:gd name="connsiteX13" fmla="*/ 1047746 w 10303329"/>
              <a:gd name="connsiteY13" fmla="*/ 22223186 h 22223186"/>
              <a:gd name="connsiteX14" fmla="*/ 0 w 10303329"/>
              <a:gd name="connsiteY14" fmla="*/ 21175440 h 22223186"/>
              <a:gd name="connsiteX15" fmla="*/ 0 w 10303329"/>
              <a:gd name="connsiteY15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058150 w 10303329"/>
              <a:gd name="connsiteY7" fmla="*/ 73478 h 22223186"/>
              <a:gd name="connsiteX8" fmla="*/ 8221435 w 10303329"/>
              <a:gd name="connsiteY8" fmla="*/ 0 h 22223186"/>
              <a:gd name="connsiteX9" fmla="*/ 9255583 w 10303329"/>
              <a:gd name="connsiteY9" fmla="*/ 0 h 22223186"/>
              <a:gd name="connsiteX10" fmla="*/ 10303329 w 10303329"/>
              <a:gd name="connsiteY10" fmla="*/ 1047746 h 22223186"/>
              <a:gd name="connsiteX11" fmla="*/ 10303329 w 10303329"/>
              <a:gd name="connsiteY11" fmla="*/ 21175440 h 22223186"/>
              <a:gd name="connsiteX12" fmla="*/ 9255583 w 10303329"/>
              <a:gd name="connsiteY12" fmla="*/ 22223186 h 22223186"/>
              <a:gd name="connsiteX13" fmla="*/ 1047746 w 10303329"/>
              <a:gd name="connsiteY13" fmla="*/ 22223186 h 22223186"/>
              <a:gd name="connsiteX14" fmla="*/ 0 w 10303329"/>
              <a:gd name="connsiteY14" fmla="*/ 21175440 h 22223186"/>
              <a:gd name="connsiteX15" fmla="*/ 0 w 10303329"/>
              <a:gd name="connsiteY15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058150 w 10303329"/>
              <a:gd name="connsiteY7" fmla="*/ 73478 h 22223186"/>
              <a:gd name="connsiteX8" fmla="*/ 8221435 w 10303329"/>
              <a:gd name="connsiteY8" fmla="*/ 0 h 22223186"/>
              <a:gd name="connsiteX9" fmla="*/ 9255583 w 10303329"/>
              <a:gd name="connsiteY9" fmla="*/ 0 h 22223186"/>
              <a:gd name="connsiteX10" fmla="*/ 10303329 w 10303329"/>
              <a:gd name="connsiteY10" fmla="*/ 1047746 h 22223186"/>
              <a:gd name="connsiteX11" fmla="*/ 10303329 w 10303329"/>
              <a:gd name="connsiteY11" fmla="*/ 21175440 h 22223186"/>
              <a:gd name="connsiteX12" fmla="*/ 9255583 w 10303329"/>
              <a:gd name="connsiteY12" fmla="*/ 22223186 h 22223186"/>
              <a:gd name="connsiteX13" fmla="*/ 1047746 w 10303329"/>
              <a:gd name="connsiteY13" fmla="*/ 22223186 h 22223186"/>
              <a:gd name="connsiteX14" fmla="*/ 0 w 10303329"/>
              <a:gd name="connsiteY14" fmla="*/ 21175440 h 22223186"/>
              <a:gd name="connsiteX15" fmla="*/ 0 w 10303329"/>
              <a:gd name="connsiteY15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058150 w 10303329"/>
              <a:gd name="connsiteY7" fmla="*/ 73478 h 22223186"/>
              <a:gd name="connsiteX8" fmla="*/ 8221435 w 10303329"/>
              <a:gd name="connsiteY8" fmla="*/ 0 h 22223186"/>
              <a:gd name="connsiteX9" fmla="*/ 9255583 w 10303329"/>
              <a:gd name="connsiteY9" fmla="*/ 0 h 22223186"/>
              <a:gd name="connsiteX10" fmla="*/ 10303329 w 10303329"/>
              <a:gd name="connsiteY10" fmla="*/ 1047746 h 22223186"/>
              <a:gd name="connsiteX11" fmla="*/ 10303329 w 10303329"/>
              <a:gd name="connsiteY11" fmla="*/ 21175440 h 22223186"/>
              <a:gd name="connsiteX12" fmla="*/ 9255583 w 10303329"/>
              <a:gd name="connsiteY12" fmla="*/ 22223186 h 22223186"/>
              <a:gd name="connsiteX13" fmla="*/ 1047746 w 10303329"/>
              <a:gd name="connsiteY13" fmla="*/ 22223186 h 22223186"/>
              <a:gd name="connsiteX14" fmla="*/ 0 w 10303329"/>
              <a:gd name="connsiteY14" fmla="*/ 21175440 h 22223186"/>
              <a:gd name="connsiteX15" fmla="*/ 0 w 10303329"/>
              <a:gd name="connsiteY15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058150 w 10303329"/>
              <a:gd name="connsiteY7" fmla="*/ 73478 h 22223186"/>
              <a:gd name="connsiteX8" fmla="*/ 8221435 w 10303329"/>
              <a:gd name="connsiteY8" fmla="*/ 0 h 22223186"/>
              <a:gd name="connsiteX9" fmla="*/ 9255583 w 10303329"/>
              <a:gd name="connsiteY9" fmla="*/ 0 h 22223186"/>
              <a:gd name="connsiteX10" fmla="*/ 10303329 w 10303329"/>
              <a:gd name="connsiteY10" fmla="*/ 1047746 h 22223186"/>
              <a:gd name="connsiteX11" fmla="*/ 10303329 w 10303329"/>
              <a:gd name="connsiteY11" fmla="*/ 21175440 h 22223186"/>
              <a:gd name="connsiteX12" fmla="*/ 9255583 w 10303329"/>
              <a:gd name="connsiteY12" fmla="*/ 22223186 h 22223186"/>
              <a:gd name="connsiteX13" fmla="*/ 1047746 w 10303329"/>
              <a:gd name="connsiteY13" fmla="*/ 22223186 h 22223186"/>
              <a:gd name="connsiteX14" fmla="*/ 0 w 10303329"/>
              <a:gd name="connsiteY14" fmla="*/ 21175440 h 22223186"/>
              <a:gd name="connsiteX15" fmla="*/ 0 w 10303329"/>
              <a:gd name="connsiteY15" fmla="*/ 1047746 h 22223186"/>
              <a:gd name="connsiteX0" fmla="*/ 0 w 10303329"/>
              <a:gd name="connsiteY0" fmla="*/ 1122334 h 22297774"/>
              <a:gd name="connsiteX1" fmla="*/ 1047746 w 10303329"/>
              <a:gd name="connsiteY1" fmla="*/ 74588 h 22297774"/>
              <a:gd name="connsiteX2" fmla="*/ 2206735 w 10303329"/>
              <a:gd name="connsiteY2" fmla="*/ 92819 h 22297774"/>
              <a:gd name="connsiteX3" fmla="*/ 2382149 w 10303329"/>
              <a:gd name="connsiteY3" fmla="*/ 660990 h 22297774"/>
              <a:gd name="connsiteX4" fmla="*/ 2775858 w 10303329"/>
              <a:gd name="connsiteY4" fmla="*/ 907343 h 22297774"/>
              <a:gd name="connsiteX5" fmla="*/ 7331528 w 10303329"/>
              <a:gd name="connsiteY5" fmla="*/ 907345 h 22297774"/>
              <a:gd name="connsiteX6" fmla="*/ 7878536 w 10303329"/>
              <a:gd name="connsiteY6" fmla="*/ 654253 h 22297774"/>
              <a:gd name="connsiteX7" fmla="*/ 8058150 w 10303329"/>
              <a:gd name="connsiteY7" fmla="*/ 148066 h 22297774"/>
              <a:gd name="connsiteX8" fmla="*/ 9255583 w 10303329"/>
              <a:gd name="connsiteY8" fmla="*/ 74588 h 22297774"/>
              <a:gd name="connsiteX9" fmla="*/ 10303329 w 10303329"/>
              <a:gd name="connsiteY9" fmla="*/ 1122334 h 22297774"/>
              <a:gd name="connsiteX10" fmla="*/ 10303329 w 10303329"/>
              <a:gd name="connsiteY10" fmla="*/ 21250028 h 22297774"/>
              <a:gd name="connsiteX11" fmla="*/ 9255583 w 10303329"/>
              <a:gd name="connsiteY11" fmla="*/ 22297774 h 22297774"/>
              <a:gd name="connsiteX12" fmla="*/ 1047746 w 10303329"/>
              <a:gd name="connsiteY12" fmla="*/ 22297774 h 22297774"/>
              <a:gd name="connsiteX13" fmla="*/ 0 w 10303329"/>
              <a:gd name="connsiteY13" fmla="*/ 21250028 h 22297774"/>
              <a:gd name="connsiteX14" fmla="*/ 0 w 10303329"/>
              <a:gd name="connsiteY14" fmla="*/ 1122334 h 22297774"/>
              <a:gd name="connsiteX0" fmla="*/ 0 w 10303329"/>
              <a:gd name="connsiteY0" fmla="*/ 1114032 h 22289472"/>
              <a:gd name="connsiteX1" fmla="*/ 1047746 w 10303329"/>
              <a:gd name="connsiteY1" fmla="*/ 66286 h 22289472"/>
              <a:gd name="connsiteX2" fmla="*/ 2206735 w 10303329"/>
              <a:gd name="connsiteY2" fmla="*/ 84517 h 22289472"/>
              <a:gd name="connsiteX3" fmla="*/ 2382149 w 10303329"/>
              <a:gd name="connsiteY3" fmla="*/ 652688 h 22289472"/>
              <a:gd name="connsiteX4" fmla="*/ 2775858 w 10303329"/>
              <a:gd name="connsiteY4" fmla="*/ 899041 h 22289472"/>
              <a:gd name="connsiteX5" fmla="*/ 7331528 w 10303329"/>
              <a:gd name="connsiteY5" fmla="*/ 899043 h 22289472"/>
              <a:gd name="connsiteX6" fmla="*/ 7878536 w 10303329"/>
              <a:gd name="connsiteY6" fmla="*/ 645951 h 22289472"/>
              <a:gd name="connsiteX7" fmla="*/ 8058150 w 10303329"/>
              <a:gd name="connsiteY7" fmla="*/ 139764 h 22289472"/>
              <a:gd name="connsiteX8" fmla="*/ 9255583 w 10303329"/>
              <a:gd name="connsiteY8" fmla="*/ 66286 h 22289472"/>
              <a:gd name="connsiteX9" fmla="*/ 10303329 w 10303329"/>
              <a:gd name="connsiteY9" fmla="*/ 1114032 h 22289472"/>
              <a:gd name="connsiteX10" fmla="*/ 10303329 w 10303329"/>
              <a:gd name="connsiteY10" fmla="*/ 21241726 h 22289472"/>
              <a:gd name="connsiteX11" fmla="*/ 9255583 w 10303329"/>
              <a:gd name="connsiteY11" fmla="*/ 22289472 h 22289472"/>
              <a:gd name="connsiteX12" fmla="*/ 1047746 w 10303329"/>
              <a:gd name="connsiteY12" fmla="*/ 22289472 h 22289472"/>
              <a:gd name="connsiteX13" fmla="*/ 0 w 10303329"/>
              <a:gd name="connsiteY13" fmla="*/ 21241726 h 22289472"/>
              <a:gd name="connsiteX14" fmla="*/ 0 w 10303329"/>
              <a:gd name="connsiteY14" fmla="*/ 1114032 h 22289472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058150 w 10303329"/>
              <a:gd name="connsiteY7" fmla="*/ 73478 h 22223186"/>
              <a:gd name="connsiteX8" fmla="*/ 9255583 w 10303329"/>
              <a:gd name="connsiteY8" fmla="*/ 0 h 22223186"/>
              <a:gd name="connsiteX9" fmla="*/ 10303329 w 10303329"/>
              <a:gd name="connsiteY9" fmla="*/ 1047746 h 22223186"/>
              <a:gd name="connsiteX10" fmla="*/ 10303329 w 10303329"/>
              <a:gd name="connsiteY10" fmla="*/ 21175440 h 22223186"/>
              <a:gd name="connsiteX11" fmla="*/ 9255583 w 10303329"/>
              <a:gd name="connsiteY11" fmla="*/ 22223186 h 22223186"/>
              <a:gd name="connsiteX12" fmla="*/ 1047746 w 10303329"/>
              <a:gd name="connsiteY12" fmla="*/ 22223186 h 22223186"/>
              <a:gd name="connsiteX13" fmla="*/ 0 w 10303329"/>
              <a:gd name="connsiteY13" fmla="*/ 21175440 h 22223186"/>
              <a:gd name="connsiteX14" fmla="*/ 0 w 10303329"/>
              <a:gd name="connsiteY14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058150 w 10303329"/>
              <a:gd name="connsiteY7" fmla="*/ 73478 h 22223186"/>
              <a:gd name="connsiteX8" fmla="*/ 9255583 w 10303329"/>
              <a:gd name="connsiteY8" fmla="*/ 0 h 22223186"/>
              <a:gd name="connsiteX9" fmla="*/ 10303329 w 10303329"/>
              <a:gd name="connsiteY9" fmla="*/ 1047746 h 22223186"/>
              <a:gd name="connsiteX10" fmla="*/ 10303329 w 10303329"/>
              <a:gd name="connsiteY10" fmla="*/ 21175440 h 22223186"/>
              <a:gd name="connsiteX11" fmla="*/ 9255583 w 10303329"/>
              <a:gd name="connsiteY11" fmla="*/ 22223186 h 22223186"/>
              <a:gd name="connsiteX12" fmla="*/ 1047746 w 10303329"/>
              <a:gd name="connsiteY12" fmla="*/ 22223186 h 22223186"/>
              <a:gd name="connsiteX13" fmla="*/ 0 w 10303329"/>
              <a:gd name="connsiteY13" fmla="*/ 21175440 h 22223186"/>
              <a:gd name="connsiteX14" fmla="*/ 0 w 10303329"/>
              <a:gd name="connsiteY14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058150 w 10303329"/>
              <a:gd name="connsiteY7" fmla="*/ 73478 h 22223186"/>
              <a:gd name="connsiteX8" fmla="*/ 9255583 w 10303329"/>
              <a:gd name="connsiteY8" fmla="*/ 0 h 22223186"/>
              <a:gd name="connsiteX9" fmla="*/ 10303329 w 10303329"/>
              <a:gd name="connsiteY9" fmla="*/ 1047746 h 22223186"/>
              <a:gd name="connsiteX10" fmla="*/ 10303329 w 10303329"/>
              <a:gd name="connsiteY10" fmla="*/ 21175440 h 22223186"/>
              <a:gd name="connsiteX11" fmla="*/ 9255583 w 10303329"/>
              <a:gd name="connsiteY11" fmla="*/ 22223186 h 22223186"/>
              <a:gd name="connsiteX12" fmla="*/ 1047746 w 10303329"/>
              <a:gd name="connsiteY12" fmla="*/ 22223186 h 22223186"/>
              <a:gd name="connsiteX13" fmla="*/ 0 w 10303329"/>
              <a:gd name="connsiteY13" fmla="*/ 21175440 h 22223186"/>
              <a:gd name="connsiteX14" fmla="*/ 0 w 10303329"/>
              <a:gd name="connsiteY14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94864 w 10303329"/>
              <a:gd name="connsiteY6" fmla="*/ 595993 h 22223186"/>
              <a:gd name="connsiteX7" fmla="*/ 8058150 w 10303329"/>
              <a:gd name="connsiteY7" fmla="*/ 73478 h 22223186"/>
              <a:gd name="connsiteX8" fmla="*/ 9255583 w 10303329"/>
              <a:gd name="connsiteY8" fmla="*/ 0 h 22223186"/>
              <a:gd name="connsiteX9" fmla="*/ 10303329 w 10303329"/>
              <a:gd name="connsiteY9" fmla="*/ 1047746 h 22223186"/>
              <a:gd name="connsiteX10" fmla="*/ 10303329 w 10303329"/>
              <a:gd name="connsiteY10" fmla="*/ 21175440 h 22223186"/>
              <a:gd name="connsiteX11" fmla="*/ 9255583 w 10303329"/>
              <a:gd name="connsiteY11" fmla="*/ 22223186 h 22223186"/>
              <a:gd name="connsiteX12" fmla="*/ 1047746 w 10303329"/>
              <a:gd name="connsiteY12" fmla="*/ 22223186 h 22223186"/>
              <a:gd name="connsiteX13" fmla="*/ 0 w 10303329"/>
              <a:gd name="connsiteY13" fmla="*/ 21175440 h 22223186"/>
              <a:gd name="connsiteX14" fmla="*/ 0 w 10303329"/>
              <a:gd name="connsiteY14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94864 w 10303329"/>
              <a:gd name="connsiteY6" fmla="*/ 595993 h 22223186"/>
              <a:gd name="connsiteX7" fmla="*/ 8017329 w 10303329"/>
              <a:gd name="connsiteY7" fmla="*/ 204107 h 22223186"/>
              <a:gd name="connsiteX8" fmla="*/ 8058150 w 10303329"/>
              <a:gd name="connsiteY8" fmla="*/ 73478 h 22223186"/>
              <a:gd name="connsiteX9" fmla="*/ 9255583 w 10303329"/>
              <a:gd name="connsiteY9" fmla="*/ 0 h 22223186"/>
              <a:gd name="connsiteX10" fmla="*/ 10303329 w 10303329"/>
              <a:gd name="connsiteY10" fmla="*/ 1047746 h 22223186"/>
              <a:gd name="connsiteX11" fmla="*/ 10303329 w 10303329"/>
              <a:gd name="connsiteY11" fmla="*/ 21175440 h 22223186"/>
              <a:gd name="connsiteX12" fmla="*/ 9255583 w 10303329"/>
              <a:gd name="connsiteY12" fmla="*/ 22223186 h 22223186"/>
              <a:gd name="connsiteX13" fmla="*/ 1047746 w 10303329"/>
              <a:gd name="connsiteY13" fmla="*/ 22223186 h 22223186"/>
              <a:gd name="connsiteX14" fmla="*/ 0 w 10303329"/>
              <a:gd name="connsiteY14" fmla="*/ 21175440 h 22223186"/>
              <a:gd name="connsiteX15" fmla="*/ 0 w 10303329"/>
              <a:gd name="connsiteY15" fmla="*/ 1047746 h 22223186"/>
              <a:gd name="connsiteX0" fmla="*/ 0 w 10303329"/>
              <a:gd name="connsiteY0" fmla="*/ 1115259 h 22290699"/>
              <a:gd name="connsiteX1" fmla="*/ 1047746 w 10303329"/>
              <a:gd name="connsiteY1" fmla="*/ 67513 h 22290699"/>
              <a:gd name="connsiteX2" fmla="*/ 2206735 w 10303329"/>
              <a:gd name="connsiteY2" fmla="*/ 85744 h 22290699"/>
              <a:gd name="connsiteX3" fmla="*/ 2382149 w 10303329"/>
              <a:gd name="connsiteY3" fmla="*/ 653915 h 22290699"/>
              <a:gd name="connsiteX4" fmla="*/ 2775858 w 10303329"/>
              <a:gd name="connsiteY4" fmla="*/ 900268 h 22290699"/>
              <a:gd name="connsiteX5" fmla="*/ 7331528 w 10303329"/>
              <a:gd name="connsiteY5" fmla="*/ 900270 h 22290699"/>
              <a:gd name="connsiteX6" fmla="*/ 7894864 w 10303329"/>
              <a:gd name="connsiteY6" fmla="*/ 663506 h 22290699"/>
              <a:gd name="connsiteX7" fmla="*/ 8017329 w 10303329"/>
              <a:gd name="connsiteY7" fmla="*/ 271620 h 22290699"/>
              <a:gd name="connsiteX8" fmla="*/ 8058150 w 10303329"/>
              <a:gd name="connsiteY8" fmla="*/ 140991 h 22290699"/>
              <a:gd name="connsiteX9" fmla="*/ 8123464 w 10303329"/>
              <a:gd name="connsiteY9" fmla="*/ 108334 h 22290699"/>
              <a:gd name="connsiteX10" fmla="*/ 9255583 w 10303329"/>
              <a:gd name="connsiteY10" fmla="*/ 67513 h 22290699"/>
              <a:gd name="connsiteX11" fmla="*/ 10303329 w 10303329"/>
              <a:gd name="connsiteY11" fmla="*/ 1115259 h 22290699"/>
              <a:gd name="connsiteX12" fmla="*/ 10303329 w 10303329"/>
              <a:gd name="connsiteY12" fmla="*/ 21242953 h 22290699"/>
              <a:gd name="connsiteX13" fmla="*/ 9255583 w 10303329"/>
              <a:gd name="connsiteY13" fmla="*/ 22290699 h 22290699"/>
              <a:gd name="connsiteX14" fmla="*/ 1047746 w 10303329"/>
              <a:gd name="connsiteY14" fmla="*/ 22290699 h 22290699"/>
              <a:gd name="connsiteX15" fmla="*/ 0 w 10303329"/>
              <a:gd name="connsiteY15" fmla="*/ 21242953 h 22290699"/>
              <a:gd name="connsiteX16" fmla="*/ 0 w 10303329"/>
              <a:gd name="connsiteY16" fmla="*/ 1115259 h 22290699"/>
              <a:gd name="connsiteX0" fmla="*/ 0 w 10303329"/>
              <a:gd name="connsiteY0" fmla="*/ 1115259 h 22290699"/>
              <a:gd name="connsiteX1" fmla="*/ 1047746 w 10303329"/>
              <a:gd name="connsiteY1" fmla="*/ 67513 h 22290699"/>
              <a:gd name="connsiteX2" fmla="*/ 2206735 w 10303329"/>
              <a:gd name="connsiteY2" fmla="*/ 85744 h 22290699"/>
              <a:gd name="connsiteX3" fmla="*/ 2382149 w 10303329"/>
              <a:gd name="connsiteY3" fmla="*/ 653915 h 22290699"/>
              <a:gd name="connsiteX4" fmla="*/ 2775858 w 10303329"/>
              <a:gd name="connsiteY4" fmla="*/ 900268 h 22290699"/>
              <a:gd name="connsiteX5" fmla="*/ 7331528 w 10303329"/>
              <a:gd name="connsiteY5" fmla="*/ 900270 h 22290699"/>
              <a:gd name="connsiteX6" fmla="*/ 7894864 w 10303329"/>
              <a:gd name="connsiteY6" fmla="*/ 663506 h 22290699"/>
              <a:gd name="connsiteX7" fmla="*/ 8017329 w 10303329"/>
              <a:gd name="connsiteY7" fmla="*/ 271620 h 22290699"/>
              <a:gd name="connsiteX8" fmla="*/ 8123464 w 10303329"/>
              <a:gd name="connsiteY8" fmla="*/ 108334 h 22290699"/>
              <a:gd name="connsiteX9" fmla="*/ 9255583 w 10303329"/>
              <a:gd name="connsiteY9" fmla="*/ 67513 h 22290699"/>
              <a:gd name="connsiteX10" fmla="*/ 10303329 w 10303329"/>
              <a:gd name="connsiteY10" fmla="*/ 1115259 h 22290699"/>
              <a:gd name="connsiteX11" fmla="*/ 10303329 w 10303329"/>
              <a:gd name="connsiteY11" fmla="*/ 21242953 h 22290699"/>
              <a:gd name="connsiteX12" fmla="*/ 9255583 w 10303329"/>
              <a:gd name="connsiteY12" fmla="*/ 22290699 h 22290699"/>
              <a:gd name="connsiteX13" fmla="*/ 1047746 w 10303329"/>
              <a:gd name="connsiteY13" fmla="*/ 22290699 h 22290699"/>
              <a:gd name="connsiteX14" fmla="*/ 0 w 10303329"/>
              <a:gd name="connsiteY14" fmla="*/ 21242953 h 22290699"/>
              <a:gd name="connsiteX15" fmla="*/ 0 w 10303329"/>
              <a:gd name="connsiteY15" fmla="*/ 1115259 h 22290699"/>
              <a:gd name="connsiteX0" fmla="*/ 0 w 10303329"/>
              <a:gd name="connsiteY0" fmla="*/ 1048170 h 22223610"/>
              <a:gd name="connsiteX1" fmla="*/ 1047746 w 10303329"/>
              <a:gd name="connsiteY1" fmla="*/ 424 h 22223610"/>
              <a:gd name="connsiteX2" fmla="*/ 2206735 w 10303329"/>
              <a:gd name="connsiteY2" fmla="*/ 18655 h 22223610"/>
              <a:gd name="connsiteX3" fmla="*/ 2382149 w 10303329"/>
              <a:gd name="connsiteY3" fmla="*/ 586826 h 22223610"/>
              <a:gd name="connsiteX4" fmla="*/ 2775858 w 10303329"/>
              <a:gd name="connsiteY4" fmla="*/ 833179 h 22223610"/>
              <a:gd name="connsiteX5" fmla="*/ 7331528 w 10303329"/>
              <a:gd name="connsiteY5" fmla="*/ 833181 h 22223610"/>
              <a:gd name="connsiteX6" fmla="*/ 7894864 w 10303329"/>
              <a:gd name="connsiteY6" fmla="*/ 596417 h 22223610"/>
              <a:gd name="connsiteX7" fmla="*/ 8017329 w 10303329"/>
              <a:gd name="connsiteY7" fmla="*/ 204531 h 22223610"/>
              <a:gd name="connsiteX8" fmla="*/ 8123464 w 10303329"/>
              <a:gd name="connsiteY8" fmla="*/ 41245 h 22223610"/>
              <a:gd name="connsiteX9" fmla="*/ 9255583 w 10303329"/>
              <a:gd name="connsiteY9" fmla="*/ 424 h 22223610"/>
              <a:gd name="connsiteX10" fmla="*/ 10303329 w 10303329"/>
              <a:gd name="connsiteY10" fmla="*/ 1048170 h 22223610"/>
              <a:gd name="connsiteX11" fmla="*/ 10303329 w 10303329"/>
              <a:gd name="connsiteY11" fmla="*/ 21175864 h 22223610"/>
              <a:gd name="connsiteX12" fmla="*/ 9255583 w 10303329"/>
              <a:gd name="connsiteY12" fmla="*/ 22223610 h 22223610"/>
              <a:gd name="connsiteX13" fmla="*/ 1047746 w 10303329"/>
              <a:gd name="connsiteY13" fmla="*/ 22223610 h 22223610"/>
              <a:gd name="connsiteX14" fmla="*/ 0 w 10303329"/>
              <a:gd name="connsiteY14" fmla="*/ 21175864 h 22223610"/>
              <a:gd name="connsiteX15" fmla="*/ 0 w 10303329"/>
              <a:gd name="connsiteY15" fmla="*/ 1048170 h 22223610"/>
              <a:gd name="connsiteX0" fmla="*/ 0 w 10303329"/>
              <a:gd name="connsiteY0" fmla="*/ 1048504 h 22223944"/>
              <a:gd name="connsiteX1" fmla="*/ 1047746 w 10303329"/>
              <a:gd name="connsiteY1" fmla="*/ 758 h 22223944"/>
              <a:gd name="connsiteX2" fmla="*/ 2206735 w 10303329"/>
              <a:gd name="connsiteY2" fmla="*/ 18989 h 22223944"/>
              <a:gd name="connsiteX3" fmla="*/ 2382149 w 10303329"/>
              <a:gd name="connsiteY3" fmla="*/ 587160 h 22223944"/>
              <a:gd name="connsiteX4" fmla="*/ 2775858 w 10303329"/>
              <a:gd name="connsiteY4" fmla="*/ 833513 h 22223944"/>
              <a:gd name="connsiteX5" fmla="*/ 7331528 w 10303329"/>
              <a:gd name="connsiteY5" fmla="*/ 833515 h 22223944"/>
              <a:gd name="connsiteX6" fmla="*/ 7894864 w 10303329"/>
              <a:gd name="connsiteY6" fmla="*/ 596751 h 22223944"/>
              <a:gd name="connsiteX7" fmla="*/ 8017329 w 10303329"/>
              <a:gd name="connsiteY7" fmla="*/ 204865 h 22223944"/>
              <a:gd name="connsiteX8" fmla="*/ 8147957 w 10303329"/>
              <a:gd name="connsiteY8" fmla="*/ 25250 h 22223944"/>
              <a:gd name="connsiteX9" fmla="*/ 9255583 w 10303329"/>
              <a:gd name="connsiteY9" fmla="*/ 758 h 22223944"/>
              <a:gd name="connsiteX10" fmla="*/ 10303329 w 10303329"/>
              <a:gd name="connsiteY10" fmla="*/ 1048504 h 22223944"/>
              <a:gd name="connsiteX11" fmla="*/ 10303329 w 10303329"/>
              <a:gd name="connsiteY11" fmla="*/ 21176198 h 22223944"/>
              <a:gd name="connsiteX12" fmla="*/ 9255583 w 10303329"/>
              <a:gd name="connsiteY12" fmla="*/ 22223944 h 22223944"/>
              <a:gd name="connsiteX13" fmla="*/ 1047746 w 10303329"/>
              <a:gd name="connsiteY13" fmla="*/ 22223944 h 22223944"/>
              <a:gd name="connsiteX14" fmla="*/ 0 w 10303329"/>
              <a:gd name="connsiteY14" fmla="*/ 21176198 h 22223944"/>
              <a:gd name="connsiteX15" fmla="*/ 0 w 10303329"/>
              <a:gd name="connsiteY15" fmla="*/ 1048504 h 22223944"/>
              <a:gd name="connsiteX0" fmla="*/ 0 w 10303329"/>
              <a:gd name="connsiteY0" fmla="*/ 1048504 h 22223944"/>
              <a:gd name="connsiteX1" fmla="*/ 1047746 w 10303329"/>
              <a:gd name="connsiteY1" fmla="*/ 758 h 22223944"/>
              <a:gd name="connsiteX2" fmla="*/ 2206735 w 10303329"/>
              <a:gd name="connsiteY2" fmla="*/ 18989 h 22223944"/>
              <a:gd name="connsiteX3" fmla="*/ 2382149 w 10303329"/>
              <a:gd name="connsiteY3" fmla="*/ 587160 h 22223944"/>
              <a:gd name="connsiteX4" fmla="*/ 2775858 w 10303329"/>
              <a:gd name="connsiteY4" fmla="*/ 833513 h 22223944"/>
              <a:gd name="connsiteX5" fmla="*/ 7331528 w 10303329"/>
              <a:gd name="connsiteY5" fmla="*/ 833515 h 22223944"/>
              <a:gd name="connsiteX6" fmla="*/ 7894864 w 10303329"/>
              <a:gd name="connsiteY6" fmla="*/ 596751 h 22223944"/>
              <a:gd name="connsiteX7" fmla="*/ 8017329 w 10303329"/>
              <a:gd name="connsiteY7" fmla="*/ 204865 h 22223944"/>
              <a:gd name="connsiteX8" fmla="*/ 8147957 w 10303329"/>
              <a:gd name="connsiteY8" fmla="*/ 25250 h 22223944"/>
              <a:gd name="connsiteX9" fmla="*/ 9255583 w 10303329"/>
              <a:gd name="connsiteY9" fmla="*/ 758 h 22223944"/>
              <a:gd name="connsiteX10" fmla="*/ 10303329 w 10303329"/>
              <a:gd name="connsiteY10" fmla="*/ 1048504 h 22223944"/>
              <a:gd name="connsiteX11" fmla="*/ 10303329 w 10303329"/>
              <a:gd name="connsiteY11" fmla="*/ 21176198 h 22223944"/>
              <a:gd name="connsiteX12" fmla="*/ 9255583 w 10303329"/>
              <a:gd name="connsiteY12" fmla="*/ 22223944 h 22223944"/>
              <a:gd name="connsiteX13" fmla="*/ 1047746 w 10303329"/>
              <a:gd name="connsiteY13" fmla="*/ 22223944 h 22223944"/>
              <a:gd name="connsiteX14" fmla="*/ 0 w 10303329"/>
              <a:gd name="connsiteY14" fmla="*/ 21176198 h 22223944"/>
              <a:gd name="connsiteX15" fmla="*/ 0 w 10303329"/>
              <a:gd name="connsiteY15" fmla="*/ 1048504 h 22223944"/>
              <a:gd name="connsiteX0" fmla="*/ 0 w 10303329"/>
              <a:gd name="connsiteY0" fmla="*/ 1048504 h 22223944"/>
              <a:gd name="connsiteX1" fmla="*/ 1047746 w 10303329"/>
              <a:gd name="connsiteY1" fmla="*/ 758 h 22223944"/>
              <a:gd name="connsiteX2" fmla="*/ 2206735 w 10303329"/>
              <a:gd name="connsiteY2" fmla="*/ 18989 h 22223944"/>
              <a:gd name="connsiteX3" fmla="*/ 2382149 w 10303329"/>
              <a:gd name="connsiteY3" fmla="*/ 587160 h 22223944"/>
              <a:gd name="connsiteX4" fmla="*/ 2775858 w 10303329"/>
              <a:gd name="connsiteY4" fmla="*/ 833513 h 22223944"/>
              <a:gd name="connsiteX5" fmla="*/ 7331528 w 10303329"/>
              <a:gd name="connsiteY5" fmla="*/ 833515 h 22223944"/>
              <a:gd name="connsiteX6" fmla="*/ 7894864 w 10303329"/>
              <a:gd name="connsiteY6" fmla="*/ 596751 h 22223944"/>
              <a:gd name="connsiteX7" fmla="*/ 8017329 w 10303329"/>
              <a:gd name="connsiteY7" fmla="*/ 204865 h 22223944"/>
              <a:gd name="connsiteX8" fmla="*/ 8147957 w 10303329"/>
              <a:gd name="connsiteY8" fmla="*/ 25250 h 22223944"/>
              <a:gd name="connsiteX9" fmla="*/ 9255583 w 10303329"/>
              <a:gd name="connsiteY9" fmla="*/ 758 h 22223944"/>
              <a:gd name="connsiteX10" fmla="*/ 10303329 w 10303329"/>
              <a:gd name="connsiteY10" fmla="*/ 1048504 h 22223944"/>
              <a:gd name="connsiteX11" fmla="*/ 10303329 w 10303329"/>
              <a:gd name="connsiteY11" fmla="*/ 21176198 h 22223944"/>
              <a:gd name="connsiteX12" fmla="*/ 9255583 w 10303329"/>
              <a:gd name="connsiteY12" fmla="*/ 22223944 h 22223944"/>
              <a:gd name="connsiteX13" fmla="*/ 1047746 w 10303329"/>
              <a:gd name="connsiteY13" fmla="*/ 22223944 h 22223944"/>
              <a:gd name="connsiteX14" fmla="*/ 0 w 10303329"/>
              <a:gd name="connsiteY14" fmla="*/ 21176198 h 22223944"/>
              <a:gd name="connsiteX15" fmla="*/ 0 w 10303329"/>
              <a:gd name="connsiteY15" fmla="*/ 1048504 h 22223944"/>
              <a:gd name="connsiteX0" fmla="*/ 0 w 10303329"/>
              <a:gd name="connsiteY0" fmla="*/ 1048504 h 22223944"/>
              <a:gd name="connsiteX1" fmla="*/ 1047746 w 10303329"/>
              <a:gd name="connsiteY1" fmla="*/ 758 h 22223944"/>
              <a:gd name="connsiteX2" fmla="*/ 2206735 w 10303329"/>
              <a:gd name="connsiteY2" fmla="*/ 18989 h 22223944"/>
              <a:gd name="connsiteX3" fmla="*/ 2382149 w 10303329"/>
              <a:gd name="connsiteY3" fmla="*/ 587160 h 22223944"/>
              <a:gd name="connsiteX4" fmla="*/ 2775858 w 10303329"/>
              <a:gd name="connsiteY4" fmla="*/ 833513 h 22223944"/>
              <a:gd name="connsiteX5" fmla="*/ 7331528 w 10303329"/>
              <a:gd name="connsiteY5" fmla="*/ 833515 h 22223944"/>
              <a:gd name="connsiteX6" fmla="*/ 7894864 w 10303329"/>
              <a:gd name="connsiteY6" fmla="*/ 596751 h 22223944"/>
              <a:gd name="connsiteX7" fmla="*/ 8017329 w 10303329"/>
              <a:gd name="connsiteY7" fmla="*/ 204865 h 22223944"/>
              <a:gd name="connsiteX8" fmla="*/ 8147957 w 10303329"/>
              <a:gd name="connsiteY8" fmla="*/ 25250 h 22223944"/>
              <a:gd name="connsiteX9" fmla="*/ 9255583 w 10303329"/>
              <a:gd name="connsiteY9" fmla="*/ 758 h 22223944"/>
              <a:gd name="connsiteX10" fmla="*/ 10303329 w 10303329"/>
              <a:gd name="connsiteY10" fmla="*/ 1048504 h 22223944"/>
              <a:gd name="connsiteX11" fmla="*/ 10303329 w 10303329"/>
              <a:gd name="connsiteY11" fmla="*/ 21176198 h 22223944"/>
              <a:gd name="connsiteX12" fmla="*/ 9255583 w 10303329"/>
              <a:gd name="connsiteY12" fmla="*/ 22223944 h 22223944"/>
              <a:gd name="connsiteX13" fmla="*/ 1047746 w 10303329"/>
              <a:gd name="connsiteY13" fmla="*/ 22223944 h 22223944"/>
              <a:gd name="connsiteX14" fmla="*/ 0 w 10303329"/>
              <a:gd name="connsiteY14" fmla="*/ 21176198 h 22223944"/>
              <a:gd name="connsiteX15" fmla="*/ 0 w 10303329"/>
              <a:gd name="connsiteY15" fmla="*/ 1048504 h 22223944"/>
              <a:gd name="connsiteX0" fmla="*/ 0 w 10303329"/>
              <a:gd name="connsiteY0" fmla="*/ 1048504 h 22223944"/>
              <a:gd name="connsiteX1" fmla="*/ 1047746 w 10303329"/>
              <a:gd name="connsiteY1" fmla="*/ 758 h 22223944"/>
              <a:gd name="connsiteX2" fmla="*/ 2206735 w 10303329"/>
              <a:gd name="connsiteY2" fmla="*/ 18989 h 22223944"/>
              <a:gd name="connsiteX3" fmla="*/ 2382149 w 10303329"/>
              <a:gd name="connsiteY3" fmla="*/ 587160 h 22223944"/>
              <a:gd name="connsiteX4" fmla="*/ 2775858 w 10303329"/>
              <a:gd name="connsiteY4" fmla="*/ 833513 h 22223944"/>
              <a:gd name="connsiteX5" fmla="*/ 7331528 w 10303329"/>
              <a:gd name="connsiteY5" fmla="*/ 833515 h 22223944"/>
              <a:gd name="connsiteX6" fmla="*/ 7894864 w 10303329"/>
              <a:gd name="connsiteY6" fmla="*/ 596751 h 22223944"/>
              <a:gd name="connsiteX7" fmla="*/ 8017329 w 10303329"/>
              <a:gd name="connsiteY7" fmla="*/ 204865 h 22223944"/>
              <a:gd name="connsiteX8" fmla="*/ 8147957 w 10303329"/>
              <a:gd name="connsiteY8" fmla="*/ 25250 h 22223944"/>
              <a:gd name="connsiteX9" fmla="*/ 9255583 w 10303329"/>
              <a:gd name="connsiteY9" fmla="*/ 758 h 22223944"/>
              <a:gd name="connsiteX10" fmla="*/ 10303329 w 10303329"/>
              <a:gd name="connsiteY10" fmla="*/ 1048504 h 22223944"/>
              <a:gd name="connsiteX11" fmla="*/ 10303329 w 10303329"/>
              <a:gd name="connsiteY11" fmla="*/ 21176198 h 22223944"/>
              <a:gd name="connsiteX12" fmla="*/ 9255583 w 10303329"/>
              <a:gd name="connsiteY12" fmla="*/ 22223944 h 22223944"/>
              <a:gd name="connsiteX13" fmla="*/ 1047746 w 10303329"/>
              <a:gd name="connsiteY13" fmla="*/ 22223944 h 22223944"/>
              <a:gd name="connsiteX14" fmla="*/ 0 w 10303329"/>
              <a:gd name="connsiteY14" fmla="*/ 21176198 h 22223944"/>
              <a:gd name="connsiteX15" fmla="*/ 0 w 10303329"/>
              <a:gd name="connsiteY15" fmla="*/ 1048504 h 22223944"/>
              <a:gd name="connsiteX0" fmla="*/ 0 w 10303329"/>
              <a:gd name="connsiteY0" fmla="*/ 1048504 h 22223944"/>
              <a:gd name="connsiteX1" fmla="*/ 1047746 w 10303329"/>
              <a:gd name="connsiteY1" fmla="*/ 758 h 22223944"/>
              <a:gd name="connsiteX2" fmla="*/ 2206735 w 10303329"/>
              <a:gd name="connsiteY2" fmla="*/ 18989 h 22223944"/>
              <a:gd name="connsiteX3" fmla="*/ 2382149 w 10303329"/>
              <a:gd name="connsiteY3" fmla="*/ 587160 h 22223944"/>
              <a:gd name="connsiteX4" fmla="*/ 2775858 w 10303329"/>
              <a:gd name="connsiteY4" fmla="*/ 833513 h 22223944"/>
              <a:gd name="connsiteX5" fmla="*/ 7331528 w 10303329"/>
              <a:gd name="connsiteY5" fmla="*/ 833515 h 22223944"/>
              <a:gd name="connsiteX6" fmla="*/ 7894864 w 10303329"/>
              <a:gd name="connsiteY6" fmla="*/ 596751 h 22223944"/>
              <a:gd name="connsiteX7" fmla="*/ 8017329 w 10303329"/>
              <a:gd name="connsiteY7" fmla="*/ 204865 h 22223944"/>
              <a:gd name="connsiteX8" fmla="*/ 8147957 w 10303329"/>
              <a:gd name="connsiteY8" fmla="*/ 25250 h 22223944"/>
              <a:gd name="connsiteX9" fmla="*/ 9255583 w 10303329"/>
              <a:gd name="connsiteY9" fmla="*/ 758 h 22223944"/>
              <a:gd name="connsiteX10" fmla="*/ 10303329 w 10303329"/>
              <a:gd name="connsiteY10" fmla="*/ 1048504 h 22223944"/>
              <a:gd name="connsiteX11" fmla="*/ 10303329 w 10303329"/>
              <a:gd name="connsiteY11" fmla="*/ 21176198 h 22223944"/>
              <a:gd name="connsiteX12" fmla="*/ 9255583 w 10303329"/>
              <a:gd name="connsiteY12" fmla="*/ 22223944 h 22223944"/>
              <a:gd name="connsiteX13" fmla="*/ 1047746 w 10303329"/>
              <a:gd name="connsiteY13" fmla="*/ 22223944 h 22223944"/>
              <a:gd name="connsiteX14" fmla="*/ 0 w 10303329"/>
              <a:gd name="connsiteY14" fmla="*/ 21176198 h 22223944"/>
              <a:gd name="connsiteX15" fmla="*/ 0 w 10303329"/>
              <a:gd name="connsiteY15" fmla="*/ 1048504 h 22223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303329" h="22223944">
                <a:moveTo>
                  <a:pt x="0" y="1048504"/>
                </a:moveTo>
                <a:cubicBezTo>
                  <a:pt x="0" y="469850"/>
                  <a:pt x="469092" y="758"/>
                  <a:pt x="1047746" y="758"/>
                </a:cubicBezTo>
                <a:lnTo>
                  <a:pt x="2206735" y="18989"/>
                </a:lnTo>
                <a:cubicBezTo>
                  <a:pt x="2341538" y="26227"/>
                  <a:pt x="2242035" y="356948"/>
                  <a:pt x="2382149" y="587160"/>
                </a:cubicBezTo>
                <a:cubicBezTo>
                  <a:pt x="2507943" y="745479"/>
                  <a:pt x="2650063" y="830316"/>
                  <a:pt x="2775858" y="833513"/>
                </a:cubicBezTo>
                <a:lnTo>
                  <a:pt x="7331528" y="833515"/>
                </a:lnTo>
                <a:cubicBezTo>
                  <a:pt x="7513864" y="838958"/>
                  <a:pt x="7737020" y="844400"/>
                  <a:pt x="7894864" y="596751"/>
                </a:cubicBezTo>
                <a:cubicBezTo>
                  <a:pt x="7984671" y="467483"/>
                  <a:pt x="8011886" y="387201"/>
                  <a:pt x="8017329" y="204865"/>
                </a:cubicBezTo>
                <a:cubicBezTo>
                  <a:pt x="7998279" y="128665"/>
                  <a:pt x="8031388" y="34775"/>
                  <a:pt x="8147957" y="25250"/>
                </a:cubicBezTo>
                <a:cubicBezTo>
                  <a:pt x="8347529" y="13004"/>
                  <a:pt x="8802465" y="-3778"/>
                  <a:pt x="9255583" y="758"/>
                </a:cubicBezTo>
                <a:cubicBezTo>
                  <a:pt x="9834237" y="758"/>
                  <a:pt x="10303329" y="469850"/>
                  <a:pt x="10303329" y="1048504"/>
                </a:cubicBezTo>
                <a:lnTo>
                  <a:pt x="10303329" y="21176198"/>
                </a:lnTo>
                <a:cubicBezTo>
                  <a:pt x="10303329" y="21754852"/>
                  <a:pt x="9834237" y="22223944"/>
                  <a:pt x="9255583" y="22223944"/>
                </a:cubicBezTo>
                <a:lnTo>
                  <a:pt x="1047746" y="22223944"/>
                </a:lnTo>
                <a:cubicBezTo>
                  <a:pt x="469092" y="22223944"/>
                  <a:pt x="0" y="21754852"/>
                  <a:pt x="0" y="21176198"/>
                </a:cubicBezTo>
                <a:lnTo>
                  <a:pt x="0" y="1048504"/>
                </a:lnTo>
                <a:close/>
              </a:path>
            </a:pathLst>
          </a:cu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4044096" y="1050717"/>
            <a:ext cx="2275383" cy="4907833"/>
          </a:xfrm>
          <a:custGeom>
            <a:avLst/>
            <a:gdLst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9255583 w 10303329"/>
              <a:gd name="connsiteY2" fmla="*/ 0 h 22223186"/>
              <a:gd name="connsiteX3" fmla="*/ 10303329 w 10303329"/>
              <a:gd name="connsiteY3" fmla="*/ 1047746 h 22223186"/>
              <a:gd name="connsiteX4" fmla="*/ 10303329 w 10303329"/>
              <a:gd name="connsiteY4" fmla="*/ 21175440 h 22223186"/>
              <a:gd name="connsiteX5" fmla="*/ 9255583 w 10303329"/>
              <a:gd name="connsiteY5" fmla="*/ 22223186 h 22223186"/>
              <a:gd name="connsiteX6" fmla="*/ 1047746 w 10303329"/>
              <a:gd name="connsiteY6" fmla="*/ 22223186 h 22223186"/>
              <a:gd name="connsiteX7" fmla="*/ 0 w 10303329"/>
              <a:gd name="connsiteY7" fmla="*/ 21175440 h 22223186"/>
              <a:gd name="connsiteX8" fmla="*/ 0 w 10303329"/>
              <a:gd name="connsiteY8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645229 w 10303329"/>
              <a:gd name="connsiteY2" fmla="*/ 16328 h 22223186"/>
              <a:gd name="connsiteX3" fmla="*/ 9255583 w 10303329"/>
              <a:gd name="connsiteY3" fmla="*/ 0 h 22223186"/>
              <a:gd name="connsiteX4" fmla="*/ 10303329 w 10303329"/>
              <a:gd name="connsiteY4" fmla="*/ 1047746 h 22223186"/>
              <a:gd name="connsiteX5" fmla="*/ 10303329 w 10303329"/>
              <a:gd name="connsiteY5" fmla="*/ 21175440 h 22223186"/>
              <a:gd name="connsiteX6" fmla="*/ 9255583 w 10303329"/>
              <a:gd name="connsiteY6" fmla="*/ 22223186 h 22223186"/>
              <a:gd name="connsiteX7" fmla="*/ 1047746 w 10303329"/>
              <a:gd name="connsiteY7" fmla="*/ 22223186 h 22223186"/>
              <a:gd name="connsiteX8" fmla="*/ 0 w 10303329"/>
              <a:gd name="connsiteY8" fmla="*/ 21175440 h 22223186"/>
              <a:gd name="connsiteX9" fmla="*/ 0 w 10303329"/>
              <a:gd name="connsiteY9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645229 w 10303329"/>
              <a:gd name="connsiteY2" fmla="*/ 16328 h 22223186"/>
              <a:gd name="connsiteX3" fmla="*/ 7805057 w 10303329"/>
              <a:gd name="connsiteY3" fmla="*/ 32657 h 22223186"/>
              <a:gd name="connsiteX4" fmla="*/ 9255583 w 10303329"/>
              <a:gd name="connsiteY4" fmla="*/ 0 h 22223186"/>
              <a:gd name="connsiteX5" fmla="*/ 10303329 w 10303329"/>
              <a:gd name="connsiteY5" fmla="*/ 1047746 h 22223186"/>
              <a:gd name="connsiteX6" fmla="*/ 10303329 w 10303329"/>
              <a:gd name="connsiteY6" fmla="*/ 21175440 h 22223186"/>
              <a:gd name="connsiteX7" fmla="*/ 9255583 w 10303329"/>
              <a:gd name="connsiteY7" fmla="*/ 22223186 h 22223186"/>
              <a:gd name="connsiteX8" fmla="*/ 1047746 w 10303329"/>
              <a:gd name="connsiteY8" fmla="*/ 22223186 h 22223186"/>
              <a:gd name="connsiteX9" fmla="*/ 0 w 10303329"/>
              <a:gd name="connsiteY9" fmla="*/ 21175440 h 22223186"/>
              <a:gd name="connsiteX10" fmla="*/ 0 w 10303329"/>
              <a:gd name="connsiteY10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759529 w 10303329"/>
              <a:gd name="connsiteY2" fmla="*/ 865413 h 22223186"/>
              <a:gd name="connsiteX3" fmla="*/ 7805057 w 10303329"/>
              <a:gd name="connsiteY3" fmla="*/ 32657 h 22223186"/>
              <a:gd name="connsiteX4" fmla="*/ 9255583 w 10303329"/>
              <a:gd name="connsiteY4" fmla="*/ 0 h 22223186"/>
              <a:gd name="connsiteX5" fmla="*/ 10303329 w 10303329"/>
              <a:gd name="connsiteY5" fmla="*/ 1047746 h 22223186"/>
              <a:gd name="connsiteX6" fmla="*/ 10303329 w 10303329"/>
              <a:gd name="connsiteY6" fmla="*/ 21175440 h 22223186"/>
              <a:gd name="connsiteX7" fmla="*/ 9255583 w 10303329"/>
              <a:gd name="connsiteY7" fmla="*/ 22223186 h 22223186"/>
              <a:gd name="connsiteX8" fmla="*/ 1047746 w 10303329"/>
              <a:gd name="connsiteY8" fmla="*/ 22223186 h 22223186"/>
              <a:gd name="connsiteX9" fmla="*/ 0 w 10303329"/>
              <a:gd name="connsiteY9" fmla="*/ 21175440 h 22223186"/>
              <a:gd name="connsiteX10" fmla="*/ 0 w 10303329"/>
              <a:gd name="connsiteY10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759529 w 10303329"/>
              <a:gd name="connsiteY2" fmla="*/ 865413 h 22223186"/>
              <a:gd name="connsiteX3" fmla="*/ 7331528 w 10303329"/>
              <a:gd name="connsiteY3" fmla="*/ 832757 h 22223186"/>
              <a:gd name="connsiteX4" fmla="*/ 9255583 w 10303329"/>
              <a:gd name="connsiteY4" fmla="*/ 0 h 22223186"/>
              <a:gd name="connsiteX5" fmla="*/ 10303329 w 10303329"/>
              <a:gd name="connsiteY5" fmla="*/ 1047746 h 22223186"/>
              <a:gd name="connsiteX6" fmla="*/ 10303329 w 10303329"/>
              <a:gd name="connsiteY6" fmla="*/ 21175440 h 22223186"/>
              <a:gd name="connsiteX7" fmla="*/ 9255583 w 10303329"/>
              <a:gd name="connsiteY7" fmla="*/ 22223186 h 22223186"/>
              <a:gd name="connsiteX8" fmla="*/ 1047746 w 10303329"/>
              <a:gd name="connsiteY8" fmla="*/ 22223186 h 22223186"/>
              <a:gd name="connsiteX9" fmla="*/ 0 w 10303329"/>
              <a:gd name="connsiteY9" fmla="*/ 21175440 h 22223186"/>
              <a:gd name="connsiteX10" fmla="*/ 0 w 10303329"/>
              <a:gd name="connsiteY10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1496522 w 10303329"/>
              <a:gd name="connsiteY2" fmla="*/ 222417 h 22223186"/>
              <a:gd name="connsiteX3" fmla="*/ 2759529 w 10303329"/>
              <a:gd name="connsiteY3" fmla="*/ 865413 h 22223186"/>
              <a:gd name="connsiteX4" fmla="*/ 7331528 w 10303329"/>
              <a:gd name="connsiteY4" fmla="*/ 832757 h 22223186"/>
              <a:gd name="connsiteX5" fmla="*/ 9255583 w 10303329"/>
              <a:gd name="connsiteY5" fmla="*/ 0 h 22223186"/>
              <a:gd name="connsiteX6" fmla="*/ 10303329 w 10303329"/>
              <a:gd name="connsiteY6" fmla="*/ 1047746 h 22223186"/>
              <a:gd name="connsiteX7" fmla="*/ 10303329 w 10303329"/>
              <a:gd name="connsiteY7" fmla="*/ 21175440 h 22223186"/>
              <a:gd name="connsiteX8" fmla="*/ 9255583 w 10303329"/>
              <a:gd name="connsiteY8" fmla="*/ 22223186 h 22223186"/>
              <a:gd name="connsiteX9" fmla="*/ 1047746 w 10303329"/>
              <a:gd name="connsiteY9" fmla="*/ 22223186 h 22223186"/>
              <a:gd name="connsiteX10" fmla="*/ 0 w 10303329"/>
              <a:gd name="connsiteY10" fmla="*/ 21175440 h 22223186"/>
              <a:gd name="connsiteX11" fmla="*/ 0 w 10303329"/>
              <a:gd name="connsiteY11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759529 w 10303329"/>
              <a:gd name="connsiteY3" fmla="*/ 865413 h 22223186"/>
              <a:gd name="connsiteX4" fmla="*/ 7331528 w 10303329"/>
              <a:gd name="connsiteY4" fmla="*/ 832757 h 22223186"/>
              <a:gd name="connsiteX5" fmla="*/ 9255583 w 10303329"/>
              <a:gd name="connsiteY5" fmla="*/ 0 h 22223186"/>
              <a:gd name="connsiteX6" fmla="*/ 10303329 w 10303329"/>
              <a:gd name="connsiteY6" fmla="*/ 1047746 h 22223186"/>
              <a:gd name="connsiteX7" fmla="*/ 10303329 w 10303329"/>
              <a:gd name="connsiteY7" fmla="*/ 21175440 h 22223186"/>
              <a:gd name="connsiteX8" fmla="*/ 9255583 w 10303329"/>
              <a:gd name="connsiteY8" fmla="*/ 22223186 h 22223186"/>
              <a:gd name="connsiteX9" fmla="*/ 1047746 w 10303329"/>
              <a:gd name="connsiteY9" fmla="*/ 22223186 h 22223186"/>
              <a:gd name="connsiteX10" fmla="*/ 0 w 10303329"/>
              <a:gd name="connsiteY10" fmla="*/ 21175440 h 22223186"/>
              <a:gd name="connsiteX11" fmla="*/ 0 w 10303329"/>
              <a:gd name="connsiteY11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464188 w 10303329"/>
              <a:gd name="connsiteY3" fmla="*/ 417726 h 22223186"/>
              <a:gd name="connsiteX4" fmla="*/ 2759529 w 10303329"/>
              <a:gd name="connsiteY4" fmla="*/ 865413 h 22223186"/>
              <a:gd name="connsiteX5" fmla="*/ 7331528 w 10303329"/>
              <a:gd name="connsiteY5" fmla="*/ 832757 h 22223186"/>
              <a:gd name="connsiteX6" fmla="*/ 9255583 w 10303329"/>
              <a:gd name="connsiteY6" fmla="*/ 0 h 22223186"/>
              <a:gd name="connsiteX7" fmla="*/ 10303329 w 10303329"/>
              <a:gd name="connsiteY7" fmla="*/ 1047746 h 22223186"/>
              <a:gd name="connsiteX8" fmla="*/ 10303329 w 10303329"/>
              <a:gd name="connsiteY8" fmla="*/ 21175440 h 22223186"/>
              <a:gd name="connsiteX9" fmla="*/ 9255583 w 10303329"/>
              <a:gd name="connsiteY9" fmla="*/ 22223186 h 22223186"/>
              <a:gd name="connsiteX10" fmla="*/ 1047746 w 10303329"/>
              <a:gd name="connsiteY10" fmla="*/ 22223186 h 22223186"/>
              <a:gd name="connsiteX11" fmla="*/ 0 w 10303329"/>
              <a:gd name="connsiteY11" fmla="*/ 21175440 h 22223186"/>
              <a:gd name="connsiteX12" fmla="*/ 0 w 10303329"/>
              <a:gd name="connsiteY12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57656 w 10303329"/>
              <a:gd name="connsiteY3" fmla="*/ 586402 h 22223186"/>
              <a:gd name="connsiteX4" fmla="*/ 2759529 w 10303329"/>
              <a:gd name="connsiteY4" fmla="*/ 865413 h 22223186"/>
              <a:gd name="connsiteX5" fmla="*/ 7331528 w 10303329"/>
              <a:gd name="connsiteY5" fmla="*/ 832757 h 22223186"/>
              <a:gd name="connsiteX6" fmla="*/ 9255583 w 10303329"/>
              <a:gd name="connsiteY6" fmla="*/ 0 h 22223186"/>
              <a:gd name="connsiteX7" fmla="*/ 10303329 w 10303329"/>
              <a:gd name="connsiteY7" fmla="*/ 1047746 h 22223186"/>
              <a:gd name="connsiteX8" fmla="*/ 10303329 w 10303329"/>
              <a:gd name="connsiteY8" fmla="*/ 21175440 h 22223186"/>
              <a:gd name="connsiteX9" fmla="*/ 9255583 w 10303329"/>
              <a:gd name="connsiteY9" fmla="*/ 22223186 h 22223186"/>
              <a:gd name="connsiteX10" fmla="*/ 1047746 w 10303329"/>
              <a:gd name="connsiteY10" fmla="*/ 22223186 h 22223186"/>
              <a:gd name="connsiteX11" fmla="*/ 0 w 10303329"/>
              <a:gd name="connsiteY11" fmla="*/ 21175440 h 22223186"/>
              <a:gd name="connsiteX12" fmla="*/ 0 w 10303329"/>
              <a:gd name="connsiteY12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57656 w 10303329"/>
              <a:gd name="connsiteY3" fmla="*/ 586402 h 22223186"/>
              <a:gd name="connsiteX4" fmla="*/ 2759529 w 10303329"/>
              <a:gd name="connsiteY4" fmla="*/ 865413 h 22223186"/>
              <a:gd name="connsiteX5" fmla="*/ 7331528 w 10303329"/>
              <a:gd name="connsiteY5" fmla="*/ 832757 h 22223186"/>
              <a:gd name="connsiteX6" fmla="*/ 9255583 w 10303329"/>
              <a:gd name="connsiteY6" fmla="*/ 0 h 22223186"/>
              <a:gd name="connsiteX7" fmla="*/ 10303329 w 10303329"/>
              <a:gd name="connsiteY7" fmla="*/ 1047746 h 22223186"/>
              <a:gd name="connsiteX8" fmla="*/ 10303329 w 10303329"/>
              <a:gd name="connsiteY8" fmla="*/ 21175440 h 22223186"/>
              <a:gd name="connsiteX9" fmla="*/ 9255583 w 10303329"/>
              <a:gd name="connsiteY9" fmla="*/ 22223186 h 22223186"/>
              <a:gd name="connsiteX10" fmla="*/ 1047746 w 10303329"/>
              <a:gd name="connsiteY10" fmla="*/ 22223186 h 22223186"/>
              <a:gd name="connsiteX11" fmla="*/ 0 w 10303329"/>
              <a:gd name="connsiteY11" fmla="*/ 21175440 h 22223186"/>
              <a:gd name="connsiteX12" fmla="*/ 0 w 10303329"/>
              <a:gd name="connsiteY12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57656 w 10303329"/>
              <a:gd name="connsiteY3" fmla="*/ 586402 h 22223186"/>
              <a:gd name="connsiteX4" fmla="*/ 2759529 w 10303329"/>
              <a:gd name="connsiteY4" fmla="*/ 865413 h 22223186"/>
              <a:gd name="connsiteX5" fmla="*/ 7331528 w 10303329"/>
              <a:gd name="connsiteY5" fmla="*/ 832757 h 22223186"/>
              <a:gd name="connsiteX6" fmla="*/ 9255583 w 10303329"/>
              <a:gd name="connsiteY6" fmla="*/ 0 h 22223186"/>
              <a:gd name="connsiteX7" fmla="*/ 10303329 w 10303329"/>
              <a:gd name="connsiteY7" fmla="*/ 1047746 h 22223186"/>
              <a:gd name="connsiteX8" fmla="*/ 10303329 w 10303329"/>
              <a:gd name="connsiteY8" fmla="*/ 21175440 h 22223186"/>
              <a:gd name="connsiteX9" fmla="*/ 9255583 w 10303329"/>
              <a:gd name="connsiteY9" fmla="*/ 22223186 h 22223186"/>
              <a:gd name="connsiteX10" fmla="*/ 1047746 w 10303329"/>
              <a:gd name="connsiteY10" fmla="*/ 22223186 h 22223186"/>
              <a:gd name="connsiteX11" fmla="*/ 0 w 10303329"/>
              <a:gd name="connsiteY11" fmla="*/ 21175440 h 22223186"/>
              <a:gd name="connsiteX12" fmla="*/ 0 w 10303329"/>
              <a:gd name="connsiteY12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57656 w 10303329"/>
              <a:gd name="connsiteY3" fmla="*/ 586402 h 22223186"/>
              <a:gd name="connsiteX4" fmla="*/ 2759529 w 10303329"/>
              <a:gd name="connsiteY4" fmla="*/ 865413 h 22223186"/>
              <a:gd name="connsiteX5" fmla="*/ 7331528 w 10303329"/>
              <a:gd name="connsiteY5" fmla="*/ 832757 h 22223186"/>
              <a:gd name="connsiteX6" fmla="*/ 9255583 w 10303329"/>
              <a:gd name="connsiteY6" fmla="*/ 0 h 22223186"/>
              <a:gd name="connsiteX7" fmla="*/ 10303329 w 10303329"/>
              <a:gd name="connsiteY7" fmla="*/ 1047746 h 22223186"/>
              <a:gd name="connsiteX8" fmla="*/ 10303329 w 10303329"/>
              <a:gd name="connsiteY8" fmla="*/ 21175440 h 22223186"/>
              <a:gd name="connsiteX9" fmla="*/ 9255583 w 10303329"/>
              <a:gd name="connsiteY9" fmla="*/ 22223186 h 22223186"/>
              <a:gd name="connsiteX10" fmla="*/ 1047746 w 10303329"/>
              <a:gd name="connsiteY10" fmla="*/ 22223186 h 22223186"/>
              <a:gd name="connsiteX11" fmla="*/ 0 w 10303329"/>
              <a:gd name="connsiteY11" fmla="*/ 21175440 h 22223186"/>
              <a:gd name="connsiteX12" fmla="*/ 0 w 10303329"/>
              <a:gd name="connsiteY12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57656 w 10303329"/>
              <a:gd name="connsiteY3" fmla="*/ 586402 h 22223186"/>
              <a:gd name="connsiteX4" fmla="*/ 2759529 w 10303329"/>
              <a:gd name="connsiteY4" fmla="*/ 865413 h 22223186"/>
              <a:gd name="connsiteX5" fmla="*/ 7331528 w 10303329"/>
              <a:gd name="connsiteY5" fmla="*/ 832757 h 22223186"/>
              <a:gd name="connsiteX6" fmla="*/ 9255583 w 10303329"/>
              <a:gd name="connsiteY6" fmla="*/ 0 h 22223186"/>
              <a:gd name="connsiteX7" fmla="*/ 10303329 w 10303329"/>
              <a:gd name="connsiteY7" fmla="*/ 1047746 h 22223186"/>
              <a:gd name="connsiteX8" fmla="*/ 10303329 w 10303329"/>
              <a:gd name="connsiteY8" fmla="*/ 21175440 h 22223186"/>
              <a:gd name="connsiteX9" fmla="*/ 9255583 w 10303329"/>
              <a:gd name="connsiteY9" fmla="*/ 22223186 h 22223186"/>
              <a:gd name="connsiteX10" fmla="*/ 1047746 w 10303329"/>
              <a:gd name="connsiteY10" fmla="*/ 22223186 h 22223186"/>
              <a:gd name="connsiteX11" fmla="*/ 0 w 10303329"/>
              <a:gd name="connsiteY11" fmla="*/ 21175440 h 22223186"/>
              <a:gd name="connsiteX12" fmla="*/ 0 w 10303329"/>
              <a:gd name="connsiteY12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57656 w 10303329"/>
              <a:gd name="connsiteY3" fmla="*/ 586402 h 22223186"/>
              <a:gd name="connsiteX4" fmla="*/ 2751365 w 10303329"/>
              <a:gd name="connsiteY4" fmla="*/ 857248 h 22223186"/>
              <a:gd name="connsiteX5" fmla="*/ 7331528 w 10303329"/>
              <a:gd name="connsiteY5" fmla="*/ 832757 h 22223186"/>
              <a:gd name="connsiteX6" fmla="*/ 9255583 w 10303329"/>
              <a:gd name="connsiteY6" fmla="*/ 0 h 22223186"/>
              <a:gd name="connsiteX7" fmla="*/ 10303329 w 10303329"/>
              <a:gd name="connsiteY7" fmla="*/ 1047746 h 22223186"/>
              <a:gd name="connsiteX8" fmla="*/ 10303329 w 10303329"/>
              <a:gd name="connsiteY8" fmla="*/ 21175440 h 22223186"/>
              <a:gd name="connsiteX9" fmla="*/ 9255583 w 10303329"/>
              <a:gd name="connsiteY9" fmla="*/ 22223186 h 22223186"/>
              <a:gd name="connsiteX10" fmla="*/ 1047746 w 10303329"/>
              <a:gd name="connsiteY10" fmla="*/ 22223186 h 22223186"/>
              <a:gd name="connsiteX11" fmla="*/ 0 w 10303329"/>
              <a:gd name="connsiteY11" fmla="*/ 21175440 h 22223186"/>
              <a:gd name="connsiteX12" fmla="*/ 0 w 10303329"/>
              <a:gd name="connsiteY12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57656 w 10303329"/>
              <a:gd name="connsiteY3" fmla="*/ 586402 h 22223186"/>
              <a:gd name="connsiteX4" fmla="*/ 2751365 w 10303329"/>
              <a:gd name="connsiteY4" fmla="*/ 857248 h 22223186"/>
              <a:gd name="connsiteX5" fmla="*/ 7331528 w 10303329"/>
              <a:gd name="connsiteY5" fmla="*/ 832757 h 22223186"/>
              <a:gd name="connsiteX6" fmla="*/ 9255583 w 10303329"/>
              <a:gd name="connsiteY6" fmla="*/ 0 h 22223186"/>
              <a:gd name="connsiteX7" fmla="*/ 10303329 w 10303329"/>
              <a:gd name="connsiteY7" fmla="*/ 1047746 h 22223186"/>
              <a:gd name="connsiteX8" fmla="*/ 10303329 w 10303329"/>
              <a:gd name="connsiteY8" fmla="*/ 21175440 h 22223186"/>
              <a:gd name="connsiteX9" fmla="*/ 9255583 w 10303329"/>
              <a:gd name="connsiteY9" fmla="*/ 22223186 h 22223186"/>
              <a:gd name="connsiteX10" fmla="*/ 1047746 w 10303329"/>
              <a:gd name="connsiteY10" fmla="*/ 22223186 h 22223186"/>
              <a:gd name="connsiteX11" fmla="*/ 0 w 10303329"/>
              <a:gd name="connsiteY11" fmla="*/ 21175440 h 22223186"/>
              <a:gd name="connsiteX12" fmla="*/ 0 w 10303329"/>
              <a:gd name="connsiteY12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57656 w 10303329"/>
              <a:gd name="connsiteY3" fmla="*/ 586402 h 22223186"/>
              <a:gd name="connsiteX4" fmla="*/ 2751365 w 10303329"/>
              <a:gd name="connsiteY4" fmla="*/ 857248 h 22223186"/>
              <a:gd name="connsiteX5" fmla="*/ 7331528 w 10303329"/>
              <a:gd name="connsiteY5" fmla="*/ 832757 h 22223186"/>
              <a:gd name="connsiteX6" fmla="*/ 9255583 w 10303329"/>
              <a:gd name="connsiteY6" fmla="*/ 0 h 22223186"/>
              <a:gd name="connsiteX7" fmla="*/ 10303329 w 10303329"/>
              <a:gd name="connsiteY7" fmla="*/ 1047746 h 22223186"/>
              <a:gd name="connsiteX8" fmla="*/ 10303329 w 10303329"/>
              <a:gd name="connsiteY8" fmla="*/ 21175440 h 22223186"/>
              <a:gd name="connsiteX9" fmla="*/ 9255583 w 10303329"/>
              <a:gd name="connsiteY9" fmla="*/ 22223186 h 22223186"/>
              <a:gd name="connsiteX10" fmla="*/ 1047746 w 10303329"/>
              <a:gd name="connsiteY10" fmla="*/ 22223186 h 22223186"/>
              <a:gd name="connsiteX11" fmla="*/ 0 w 10303329"/>
              <a:gd name="connsiteY11" fmla="*/ 21175440 h 22223186"/>
              <a:gd name="connsiteX12" fmla="*/ 0 w 10303329"/>
              <a:gd name="connsiteY12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57656 w 10303329"/>
              <a:gd name="connsiteY3" fmla="*/ 586402 h 22223186"/>
              <a:gd name="connsiteX4" fmla="*/ 2751365 w 10303329"/>
              <a:gd name="connsiteY4" fmla="*/ 857248 h 22223186"/>
              <a:gd name="connsiteX5" fmla="*/ 7331528 w 10303329"/>
              <a:gd name="connsiteY5" fmla="*/ 832757 h 22223186"/>
              <a:gd name="connsiteX6" fmla="*/ 9255583 w 10303329"/>
              <a:gd name="connsiteY6" fmla="*/ 0 h 22223186"/>
              <a:gd name="connsiteX7" fmla="*/ 10303329 w 10303329"/>
              <a:gd name="connsiteY7" fmla="*/ 1047746 h 22223186"/>
              <a:gd name="connsiteX8" fmla="*/ 10303329 w 10303329"/>
              <a:gd name="connsiteY8" fmla="*/ 21175440 h 22223186"/>
              <a:gd name="connsiteX9" fmla="*/ 9255583 w 10303329"/>
              <a:gd name="connsiteY9" fmla="*/ 22223186 h 22223186"/>
              <a:gd name="connsiteX10" fmla="*/ 1047746 w 10303329"/>
              <a:gd name="connsiteY10" fmla="*/ 22223186 h 22223186"/>
              <a:gd name="connsiteX11" fmla="*/ 0 w 10303329"/>
              <a:gd name="connsiteY11" fmla="*/ 21175440 h 22223186"/>
              <a:gd name="connsiteX12" fmla="*/ 0 w 10303329"/>
              <a:gd name="connsiteY12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57656 w 10303329"/>
              <a:gd name="connsiteY3" fmla="*/ 586402 h 22223186"/>
              <a:gd name="connsiteX4" fmla="*/ 2751365 w 10303329"/>
              <a:gd name="connsiteY4" fmla="*/ 857248 h 22223186"/>
              <a:gd name="connsiteX5" fmla="*/ 7331528 w 10303329"/>
              <a:gd name="connsiteY5" fmla="*/ 832757 h 22223186"/>
              <a:gd name="connsiteX6" fmla="*/ 8147957 w 10303329"/>
              <a:gd name="connsiteY6" fmla="*/ 481693 h 22223186"/>
              <a:gd name="connsiteX7" fmla="*/ 9255583 w 10303329"/>
              <a:gd name="connsiteY7" fmla="*/ 0 h 22223186"/>
              <a:gd name="connsiteX8" fmla="*/ 10303329 w 10303329"/>
              <a:gd name="connsiteY8" fmla="*/ 1047746 h 22223186"/>
              <a:gd name="connsiteX9" fmla="*/ 10303329 w 10303329"/>
              <a:gd name="connsiteY9" fmla="*/ 21175440 h 22223186"/>
              <a:gd name="connsiteX10" fmla="*/ 9255583 w 10303329"/>
              <a:gd name="connsiteY10" fmla="*/ 22223186 h 22223186"/>
              <a:gd name="connsiteX11" fmla="*/ 1047746 w 10303329"/>
              <a:gd name="connsiteY11" fmla="*/ 22223186 h 22223186"/>
              <a:gd name="connsiteX12" fmla="*/ 0 w 10303329"/>
              <a:gd name="connsiteY12" fmla="*/ 21175440 h 22223186"/>
              <a:gd name="connsiteX13" fmla="*/ 0 w 10303329"/>
              <a:gd name="connsiteY13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57656 w 10303329"/>
              <a:gd name="connsiteY3" fmla="*/ 586402 h 22223186"/>
              <a:gd name="connsiteX4" fmla="*/ 2751365 w 10303329"/>
              <a:gd name="connsiteY4" fmla="*/ 857248 h 22223186"/>
              <a:gd name="connsiteX5" fmla="*/ 7331528 w 10303329"/>
              <a:gd name="connsiteY5" fmla="*/ 832757 h 22223186"/>
              <a:gd name="connsiteX6" fmla="*/ 8221435 w 10303329"/>
              <a:gd name="connsiteY6" fmla="*/ 0 h 22223186"/>
              <a:gd name="connsiteX7" fmla="*/ 9255583 w 10303329"/>
              <a:gd name="connsiteY7" fmla="*/ 0 h 22223186"/>
              <a:gd name="connsiteX8" fmla="*/ 10303329 w 10303329"/>
              <a:gd name="connsiteY8" fmla="*/ 1047746 h 22223186"/>
              <a:gd name="connsiteX9" fmla="*/ 10303329 w 10303329"/>
              <a:gd name="connsiteY9" fmla="*/ 21175440 h 22223186"/>
              <a:gd name="connsiteX10" fmla="*/ 9255583 w 10303329"/>
              <a:gd name="connsiteY10" fmla="*/ 22223186 h 22223186"/>
              <a:gd name="connsiteX11" fmla="*/ 1047746 w 10303329"/>
              <a:gd name="connsiteY11" fmla="*/ 22223186 h 22223186"/>
              <a:gd name="connsiteX12" fmla="*/ 0 w 10303329"/>
              <a:gd name="connsiteY12" fmla="*/ 21175440 h 22223186"/>
              <a:gd name="connsiteX13" fmla="*/ 0 w 10303329"/>
              <a:gd name="connsiteY13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57656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8221435 w 10303329"/>
              <a:gd name="connsiteY6" fmla="*/ 0 h 22223186"/>
              <a:gd name="connsiteX7" fmla="*/ 9255583 w 10303329"/>
              <a:gd name="connsiteY7" fmla="*/ 0 h 22223186"/>
              <a:gd name="connsiteX8" fmla="*/ 10303329 w 10303329"/>
              <a:gd name="connsiteY8" fmla="*/ 1047746 h 22223186"/>
              <a:gd name="connsiteX9" fmla="*/ 10303329 w 10303329"/>
              <a:gd name="connsiteY9" fmla="*/ 21175440 h 22223186"/>
              <a:gd name="connsiteX10" fmla="*/ 9255583 w 10303329"/>
              <a:gd name="connsiteY10" fmla="*/ 22223186 h 22223186"/>
              <a:gd name="connsiteX11" fmla="*/ 1047746 w 10303329"/>
              <a:gd name="connsiteY11" fmla="*/ 22223186 h 22223186"/>
              <a:gd name="connsiteX12" fmla="*/ 0 w 10303329"/>
              <a:gd name="connsiteY12" fmla="*/ 21175440 h 22223186"/>
              <a:gd name="connsiteX13" fmla="*/ 0 w 10303329"/>
              <a:gd name="connsiteY13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8221435 w 10303329"/>
              <a:gd name="connsiteY6" fmla="*/ 0 h 22223186"/>
              <a:gd name="connsiteX7" fmla="*/ 9255583 w 10303329"/>
              <a:gd name="connsiteY7" fmla="*/ 0 h 22223186"/>
              <a:gd name="connsiteX8" fmla="*/ 10303329 w 10303329"/>
              <a:gd name="connsiteY8" fmla="*/ 1047746 h 22223186"/>
              <a:gd name="connsiteX9" fmla="*/ 10303329 w 10303329"/>
              <a:gd name="connsiteY9" fmla="*/ 21175440 h 22223186"/>
              <a:gd name="connsiteX10" fmla="*/ 9255583 w 10303329"/>
              <a:gd name="connsiteY10" fmla="*/ 22223186 h 22223186"/>
              <a:gd name="connsiteX11" fmla="*/ 1047746 w 10303329"/>
              <a:gd name="connsiteY11" fmla="*/ 22223186 h 22223186"/>
              <a:gd name="connsiteX12" fmla="*/ 0 w 10303329"/>
              <a:gd name="connsiteY12" fmla="*/ 21175440 h 22223186"/>
              <a:gd name="connsiteX13" fmla="*/ 0 w 10303329"/>
              <a:gd name="connsiteY13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8221435 w 10303329"/>
              <a:gd name="connsiteY6" fmla="*/ 0 h 22223186"/>
              <a:gd name="connsiteX7" fmla="*/ 9255583 w 10303329"/>
              <a:gd name="connsiteY7" fmla="*/ 0 h 22223186"/>
              <a:gd name="connsiteX8" fmla="*/ 10303329 w 10303329"/>
              <a:gd name="connsiteY8" fmla="*/ 1047746 h 22223186"/>
              <a:gd name="connsiteX9" fmla="*/ 10303329 w 10303329"/>
              <a:gd name="connsiteY9" fmla="*/ 21175440 h 22223186"/>
              <a:gd name="connsiteX10" fmla="*/ 9255583 w 10303329"/>
              <a:gd name="connsiteY10" fmla="*/ 22223186 h 22223186"/>
              <a:gd name="connsiteX11" fmla="*/ 1047746 w 10303329"/>
              <a:gd name="connsiteY11" fmla="*/ 22223186 h 22223186"/>
              <a:gd name="connsiteX12" fmla="*/ 0 w 10303329"/>
              <a:gd name="connsiteY12" fmla="*/ 21175440 h 22223186"/>
              <a:gd name="connsiteX13" fmla="*/ 0 w 10303329"/>
              <a:gd name="connsiteY13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756072 w 10303329"/>
              <a:gd name="connsiteY6" fmla="*/ 432707 h 22223186"/>
              <a:gd name="connsiteX7" fmla="*/ 8221435 w 10303329"/>
              <a:gd name="connsiteY7" fmla="*/ 0 h 22223186"/>
              <a:gd name="connsiteX8" fmla="*/ 9255583 w 10303329"/>
              <a:gd name="connsiteY8" fmla="*/ 0 h 22223186"/>
              <a:gd name="connsiteX9" fmla="*/ 10303329 w 10303329"/>
              <a:gd name="connsiteY9" fmla="*/ 1047746 h 22223186"/>
              <a:gd name="connsiteX10" fmla="*/ 10303329 w 10303329"/>
              <a:gd name="connsiteY10" fmla="*/ 21175440 h 22223186"/>
              <a:gd name="connsiteX11" fmla="*/ 9255583 w 10303329"/>
              <a:gd name="connsiteY11" fmla="*/ 22223186 h 22223186"/>
              <a:gd name="connsiteX12" fmla="*/ 1047746 w 10303329"/>
              <a:gd name="connsiteY12" fmla="*/ 22223186 h 22223186"/>
              <a:gd name="connsiteX13" fmla="*/ 0 w 10303329"/>
              <a:gd name="connsiteY13" fmla="*/ 21175440 h 22223186"/>
              <a:gd name="connsiteX14" fmla="*/ 0 w 10303329"/>
              <a:gd name="connsiteY14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221435 w 10303329"/>
              <a:gd name="connsiteY7" fmla="*/ 0 h 22223186"/>
              <a:gd name="connsiteX8" fmla="*/ 9255583 w 10303329"/>
              <a:gd name="connsiteY8" fmla="*/ 0 h 22223186"/>
              <a:gd name="connsiteX9" fmla="*/ 10303329 w 10303329"/>
              <a:gd name="connsiteY9" fmla="*/ 1047746 h 22223186"/>
              <a:gd name="connsiteX10" fmla="*/ 10303329 w 10303329"/>
              <a:gd name="connsiteY10" fmla="*/ 21175440 h 22223186"/>
              <a:gd name="connsiteX11" fmla="*/ 9255583 w 10303329"/>
              <a:gd name="connsiteY11" fmla="*/ 22223186 h 22223186"/>
              <a:gd name="connsiteX12" fmla="*/ 1047746 w 10303329"/>
              <a:gd name="connsiteY12" fmla="*/ 22223186 h 22223186"/>
              <a:gd name="connsiteX13" fmla="*/ 0 w 10303329"/>
              <a:gd name="connsiteY13" fmla="*/ 21175440 h 22223186"/>
              <a:gd name="connsiteX14" fmla="*/ 0 w 10303329"/>
              <a:gd name="connsiteY14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221435 w 10303329"/>
              <a:gd name="connsiteY7" fmla="*/ 0 h 22223186"/>
              <a:gd name="connsiteX8" fmla="*/ 9255583 w 10303329"/>
              <a:gd name="connsiteY8" fmla="*/ 0 h 22223186"/>
              <a:gd name="connsiteX9" fmla="*/ 10303329 w 10303329"/>
              <a:gd name="connsiteY9" fmla="*/ 1047746 h 22223186"/>
              <a:gd name="connsiteX10" fmla="*/ 10303329 w 10303329"/>
              <a:gd name="connsiteY10" fmla="*/ 21175440 h 22223186"/>
              <a:gd name="connsiteX11" fmla="*/ 9255583 w 10303329"/>
              <a:gd name="connsiteY11" fmla="*/ 22223186 h 22223186"/>
              <a:gd name="connsiteX12" fmla="*/ 1047746 w 10303329"/>
              <a:gd name="connsiteY12" fmla="*/ 22223186 h 22223186"/>
              <a:gd name="connsiteX13" fmla="*/ 0 w 10303329"/>
              <a:gd name="connsiteY13" fmla="*/ 21175440 h 22223186"/>
              <a:gd name="connsiteX14" fmla="*/ 0 w 10303329"/>
              <a:gd name="connsiteY14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221435 w 10303329"/>
              <a:gd name="connsiteY7" fmla="*/ 0 h 22223186"/>
              <a:gd name="connsiteX8" fmla="*/ 9255583 w 10303329"/>
              <a:gd name="connsiteY8" fmla="*/ 0 h 22223186"/>
              <a:gd name="connsiteX9" fmla="*/ 10303329 w 10303329"/>
              <a:gd name="connsiteY9" fmla="*/ 1047746 h 22223186"/>
              <a:gd name="connsiteX10" fmla="*/ 10303329 w 10303329"/>
              <a:gd name="connsiteY10" fmla="*/ 21175440 h 22223186"/>
              <a:gd name="connsiteX11" fmla="*/ 9255583 w 10303329"/>
              <a:gd name="connsiteY11" fmla="*/ 22223186 h 22223186"/>
              <a:gd name="connsiteX12" fmla="*/ 1047746 w 10303329"/>
              <a:gd name="connsiteY12" fmla="*/ 22223186 h 22223186"/>
              <a:gd name="connsiteX13" fmla="*/ 0 w 10303329"/>
              <a:gd name="connsiteY13" fmla="*/ 21175440 h 22223186"/>
              <a:gd name="connsiteX14" fmla="*/ 0 w 10303329"/>
              <a:gd name="connsiteY14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066314 w 10303329"/>
              <a:gd name="connsiteY7" fmla="*/ 277586 h 22223186"/>
              <a:gd name="connsiteX8" fmla="*/ 8221435 w 10303329"/>
              <a:gd name="connsiteY8" fmla="*/ 0 h 22223186"/>
              <a:gd name="connsiteX9" fmla="*/ 9255583 w 10303329"/>
              <a:gd name="connsiteY9" fmla="*/ 0 h 22223186"/>
              <a:gd name="connsiteX10" fmla="*/ 10303329 w 10303329"/>
              <a:gd name="connsiteY10" fmla="*/ 1047746 h 22223186"/>
              <a:gd name="connsiteX11" fmla="*/ 10303329 w 10303329"/>
              <a:gd name="connsiteY11" fmla="*/ 21175440 h 22223186"/>
              <a:gd name="connsiteX12" fmla="*/ 9255583 w 10303329"/>
              <a:gd name="connsiteY12" fmla="*/ 22223186 h 22223186"/>
              <a:gd name="connsiteX13" fmla="*/ 1047746 w 10303329"/>
              <a:gd name="connsiteY13" fmla="*/ 22223186 h 22223186"/>
              <a:gd name="connsiteX14" fmla="*/ 0 w 10303329"/>
              <a:gd name="connsiteY14" fmla="*/ 21175440 h 22223186"/>
              <a:gd name="connsiteX15" fmla="*/ 0 w 10303329"/>
              <a:gd name="connsiteY15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058150 w 10303329"/>
              <a:gd name="connsiteY7" fmla="*/ 73478 h 22223186"/>
              <a:gd name="connsiteX8" fmla="*/ 8221435 w 10303329"/>
              <a:gd name="connsiteY8" fmla="*/ 0 h 22223186"/>
              <a:gd name="connsiteX9" fmla="*/ 9255583 w 10303329"/>
              <a:gd name="connsiteY9" fmla="*/ 0 h 22223186"/>
              <a:gd name="connsiteX10" fmla="*/ 10303329 w 10303329"/>
              <a:gd name="connsiteY10" fmla="*/ 1047746 h 22223186"/>
              <a:gd name="connsiteX11" fmla="*/ 10303329 w 10303329"/>
              <a:gd name="connsiteY11" fmla="*/ 21175440 h 22223186"/>
              <a:gd name="connsiteX12" fmla="*/ 9255583 w 10303329"/>
              <a:gd name="connsiteY12" fmla="*/ 22223186 h 22223186"/>
              <a:gd name="connsiteX13" fmla="*/ 1047746 w 10303329"/>
              <a:gd name="connsiteY13" fmla="*/ 22223186 h 22223186"/>
              <a:gd name="connsiteX14" fmla="*/ 0 w 10303329"/>
              <a:gd name="connsiteY14" fmla="*/ 21175440 h 22223186"/>
              <a:gd name="connsiteX15" fmla="*/ 0 w 10303329"/>
              <a:gd name="connsiteY15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058150 w 10303329"/>
              <a:gd name="connsiteY7" fmla="*/ 73478 h 22223186"/>
              <a:gd name="connsiteX8" fmla="*/ 8221435 w 10303329"/>
              <a:gd name="connsiteY8" fmla="*/ 0 h 22223186"/>
              <a:gd name="connsiteX9" fmla="*/ 9255583 w 10303329"/>
              <a:gd name="connsiteY9" fmla="*/ 0 h 22223186"/>
              <a:gd name="connsiteX10" fmla="*/ 10303329 w 10303329"/>
              <a:gd name="connsiteY10" fmla="*/ 1047746 h 22223186"/>
              <a:gd name="connsiteX11" fmla="*/ 10303329 w 10303329"/>
              <a:gd name="connsiteY11" fmla="*/ 21175440 h 22223186"/>
              <a:gd name="connsiteX12" fmla="*/ 9255583 w 10303329"/>
              <a:gd name="connsiteY12" fmla="*/ 22223186 h 22223186"/>
              <a:gd name="connsiteX13" fmla="*/ 1047746 w 10303329"/>
              <a:gd name="connsiteY13" fmla="*/ 22223186 h 22223186"/>
              <a:gd name="connsiteX14" fmla="*/ 0 w 10303329"/>
              <a:gd name="connsiteY14" fmla="*/ 21175440 h 22223186"/>
              <a:gd name="connsiteX15" fmla="*/ 0 w 10303329"/>
              <a:gd name="connsiteY15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058150 w 10303329"/>
              <a:gd name="connsiteY7" fmla="*/ 73478 h 22223186"/>
              <a:gd name="connsiteX8" fmla="*/ 8221435 w 10303329"/>
              <a:gd name="connsiteY8" fmla="*/ 0 h 22223186"/>
              <a:gd name="connsiteX9" fmla="*/ 9255583 w 10303329"/>
              <a:gd name="connsiteY9" fmla="*/ 0 h 22223186"/>
              <a:gd name="connsiteX10" fmla="*/ 10303329 w 10303329"/>
              <a:gd name="connsiteY10" fmla="*/ 1047746 h 22223186"/>
              <a:gd name="connsiteX11" fmla="*/ 10303329 w 10303329"/>
              <a:gd name="connsiteY11" fmla="*/ 21175440 h 22223186"/>
              <a:gd name="connsiteX12" fmla="*/ 9255583 w 10303329"/>
              <a:gd name="connsiteY12" fmla="*/ 22223186 h 22223186"/>
              <a:gd name="connsiteX13" fmla="*/ 1047746 w 10303329"/>
              <a:gd name="connsiteY13" fmla="*/ 22223186 h 22223186"/>
              <a:gd name="connsiteX14" fmla="*/ 0 w 10303329"/>
              <a:gd name="connsiteY14" fmla="*/ 21175440 h 22223186"/>
              <a:gd name="connsiteX15" fmla="*/ 0 w 10303329"/>
              <a:gd name="connsiteY15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058150 w 10303329"/>
              <a:gd name="connsiteY7" fmla="*/ 73478 h 22223186"/>
              <a:gd name="connsiteX8" fmla="*/ 8221435 w 10303329"/>
              <a:gd name="connsiteY8" fmla="*/ 0 h 22223186"/>
              <a:gd name="connsiteX9" fmla="*/ 9255583 w 10303329"/>
              <a:gd name="connsiteY9" fmla="*/ 0 h 22223186"/>
              <a:gd name="connsiteX10" fmla="*/ 10303329 w 10303329"/>
              <a:gd name="connsiteY10" fmla="*/ 1047746 h 22223186"/>
              <a:gd name="connsiteX11" fmla="*/ 10303329 w 10303329"/>
              <a:gd name="connsiteY11" fmla="*/ 21175440 h 22223186"/>
              <a:gd name="connsiteX12" fmla="*/ 9255583 w 10303329"/>
              <a:gd name="connsiteY12" fmla="*/ 22223186 h 22223186"/>
              <a:gd name="connsiteX13" fmla="*/ 1047746 w 10303329"/>
              <a:gd name="connsiteY13" fmla="*/ 22223186 h 22223186"/>
              <a:gd name="connsiteX14" fmla="*/ 0 w 10303329"/>
              <a:gd name="connsiteY14" fmla="*/ 21175440 h 22223186"/>
              <a:gd name="connsiteX15" fmla="*/ 0 w 10303329"/>
              <a:gd name="connsiteY15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058150 w 10303329"/>
              <a:gd name="connsiteY7" fmla="*/ 73478 h 22223186"/>
              <a:gd name="connsiteX8" fmla="*/ 8221435 w 10303329"/>
              <a:gd name="connsiteY8" fmla="*/ 0 h 22223186"/>
              <a:gd name="connsiteX9" fmla="*/ 9255583 w 10303329"/>
              <a:gd name="connsiteY9" fmla="*/ 0 h 22223186"/>
              <a:gd name="connsiteX10" fmla="*/ 10303329 w 10303329"/>
              <a:gd name="connsiteY10" fmla="*/ 1047746 h 22223186"/>
              <a:gd name="connsiteX11" fmla="*/ 10303329 w 10303329"/>
              <a:gd name="connsiteY11" fmla="*/ 21175440 h 22223186"/>
              <a:gd name="connsiteX12" fmla="*/ 9255583 w 10303329"/>
              <a:gd name="connsiteY12" fmla="*/ 22223186 h 22223186"/>
              <a:gd name="connsiteX13" fmla="*/ 1047746 w 10303329"/>
              <a:gd name="connsiteY13" fmla="*/ 22223186 h 22223186"/>
              <a:gd name="connsiteX14" fmla="*/ 0 w 10303329"/>
              <a:gd name="connsiteY14" fmla="*/ 21175440 h 22223186"/>
              <a:gd name="connsiteX15" fmla="*/ 0 w 10303329"/>
              <a:gd name="connsiteY15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058150 w 10303329"/>
              <a:gd name="connsiteY7" fmla="*/ 73478 h 22223186"/>
              <a:gd name="connsiteX8" fmla="*/ 8221435 w 10303329"/>
              <a:gd name="connsiteY8" fmla="*/ 0 h 22223186"/>
              <a:gd name="connsiteX9" fmla="*/ 9255583 w 10303329"/>
              <a:gd name="connsiteY9" fmla="*/ 0 h 22223186"/>
              <a:gd name="connsiteX10" fmla="*/ 10303329 w 10303329"/>
              <a:gd name="connsiteY10" fmla="*/ 1047746 h 22223186"/>
              <a:gd name="connsiteX11" fmla="*/ 10303329 w 10303329"/>
              <a:gd name="connsiteY11" fmla="*/ 21175440 h 22223186"/>
              <a:gd name="connsiteX12" fmla="*/ 9255583 w 10303329"/>
              <a:gd name="connsiteY12" fmla="*/ 22223186 h 22223186"/>
              <a:gd name="connsiteX13" fmla="*/ 1047746 w 10303329"/>
              <a:gd name="connsiteY13" fmla="*/ 22223186 h 22223186"/>
              <a:gd name="connsiteX14" fmla="*/ 0 w 10303329"/>
              <a:gd name="connsiteY14" fmla="*/ 21175440 h 22223186"/>
              <a:gd name="connsiteX15" fmla="*/ 0 w 10303329"/>
              <a:gd name="connsiteY15" fmla="*/ 1047746 h 22223186"/>
              <a:gd name="connsiteX0" fmla="*/ 0 w 10303329"/>
              <a:gd name="connsiteY0" fmla="*/ 1122334 h 22297774"/>
              <a:gd name="connsiteX1" fmla="*/ 1047746 w 10303329"/>
              <a:gd name="connsiteY1" fmla="*/ 74588 h 22297774"/>
              <a:gd name="connsiteX2" fmla="*/ 2206735 w 10303329"/>
              <a:gd name="connsiteY2" fmla="*/ 92819 h 22297774"/>
              <a:gd name="connsiteX3" fmla="*/ 2382149 w 10303329"/>
              <a:gd name="connsiteY3" fmla="*/ 660990 h 22297774"/>
              <a:gd name="connsiteX4" fmla="*/ 2775858 w 10303329"/>
              <a:gd name="connsiteY4" fmla="*/ 907343 h 22297774"/>
              <a:gd name="connsiteX5" fmla="*/ 7331528 w 10303329"/>
              <a:gd name="connsiteY5" fmla="*/ 907345 h 22297774"/>
              <a:gd name="connsiteX6" fmla="*/ 7878536 w 10303329"/>
              <a:gd name="connsiteY6" fmla="*/ 654253 h 22297774"/>
              <a:gd name="connsiteX7" fmla="*/ 8058150 w 10303329"/>
              <a:gd name="connsiteY7" fmla="*/ 148066 h 22297774"/>
              <a:gd name="connsiteX8" fmla="*/ 9255583 w 10303329"/>
              <a:gd name="connsiteY8" fmla="*/ 74588 h 22297774"/>
              <a:gd name="connsiteX9" fmla="*/ 10303329 w 10303329"/>
              <a:gd name="connsiteY9" fmla="*/ 1122334 h 22297774"/>
              <a:gd name="connsiteX10" fmla="*/ 10303329 w 10303329"/>
              <a:gd name="connsiteY10" fmla="*/ 21250028 h 22297774"/>
              <a:gd name="connsiteX11" fmla="*/ 9255583 w 10303329"/>
              <a:gd name="connsiteY11" fmla="*/ 22297774 h 22297774"/>
              <a:gd name="connsiteX12" fmla="*/ 1047746 w 10303329"/>
              <a:gd name="connsiteY12" fmla="*/ 22297774 h 22297774"/>
              <a:gd name="connsiteX13" fmla="*/ 0 w 10303329"/>
              <a:gd name="connsiteY13" fmla="*/ 21250028 h 22297774"/>
              <a:gd name="connsiteX14" fmla="*/ 0 w 10303329"/>
              <a:gd name="connsiteY14" fmla="*/ 1122334 h 22297774"/>
              <a:gd name="connsiteX0" fmla="*/ 0 w 10303329"/>
              <a:gd name="connsiteY0" fmla="*/ 1114032 h 22289472"/>
              <a:gd name="connsiteX1" fmla="*/ 1047746 w 10303329"/>
              <a:gd name="connsiteY1" fmla="*/ 66286 h 22289472"/>
              <a:gd name="connsiteX2" fmla="*/ 2206735 w 10303329"/>
              <a:gd name="connsiteY2" fmla="*/ 84517 h 22289472"/>
              <a:gd name="connsiteX3" fmla="*/ 2382149 w 10303329"/>
              <a:gd name="connsiteY3" fmla="*/ 652688 h 22289472"/>
              <a:gd name="connsiteX4" fmla="*/ 2775858 w 10303329"/>
              <a:gd name="connsiteY4" fmla="*/ 899041 h 22289472"/>
              <a:gd name="connsiteX5" fmla="*/ 7331528 w 10303329"/>
              <a:gd name="connsiteY5" fmla="*/ 899043 h 22289472"/>
              <a:gd name="connsiteX6" fmla="*/ 7878536 w 10303329"/>
              <a:gd name="connsiteY6" fmla="*/ 645951 h 22289472"/>
              <a:gd name="connsiteX7" fmla="*/ 8058150 w 10303329"/>
              <a:gd name="connsiteY7" fmla="*/ 139764 h 22289472"/>
              <a:gd name="connsiteX8" fmla="*/ 9255583 w 10303329"/>
              <a:gd name="connsiteY8" fmla="*/ 66286 h 22289472"/>
              <a:gd name="connsiteX9" fmla="*/ 10303329 w 10303329"/>
              <a:gd name="connsiteY9" fmla="*/ 1114032 h 22289472"/>
              <a:gd name="connsiteX10" fmla="*/ 10303329 w 10303329"/>
              <a:gd name="connsiteY10" fmla="*/ 21241726 h 22289472"/>
              <a:gd name="connsiteX11" fmla="*/ 9255583 w 10303329"/>
              <a:gd name="connsiteY11" fmla="*/ 22289472 h 22289472"/>
              <a:gd name="connsiteX12" fmla="*/ 1047746 w 10303329"/>
              <a:gd name="connsiteY12" fmla="*/ 22289472 h 22289472"/>
              <a:gd name="connsiteX13" fmla="*/ 0 w 10303329"/>
              <a:gd name="connsiteY13" fmla="*/ 21241726 h 22289472"/>
              <a:gd name="connsiteX14" fmla="*/ 0 w 10303329"/>
              <a:gd name="connsiteY14" fmla="*/ 1114032 h 22289472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058150 w 10303329"/>
              <a:gd name="connsiteY7" fmla="*/ 73478 h 22223186"/>
              <a:gd name="connsiteX8" fmla="*/ 9255583 w 10303329"/>
              <a:gd name="connsiteY8" fmla="*/ 0 h 22223186"/>
              <a:gd name="connsiteX9" fmla="*/ 10303329 w 10303329"/>
              <a:gd name="connsiteY9" fmla="*/ 1047746 h 22223186"/>
              <a:gd name="connsiteX10" fmla="*/ 10303329 w 10303329"/>
              <a:gd name="connsiteY10" fmla="*/ 21175440 h 22223186"/>
              <a:gd name="connsiteX11" fmla="*/ 9255583 w 10303329"/>
              <a:gd name="connsiteY11" fmla="*/ 22223186 h 22223186"/>
              <a:gd name="connsiteX12" fmla="*/ 1047746 w 10303329"/>
              <a:gd name="connsiteY12" fmla="*/ 22223186 h 22223186"/>
              <a:gd name="connsiteX13" fmla="*/ 0 w 10303329"/>
              <a:gd name="connsiteY13" fmla="*/ 21175440 h 22223186"/>
              <a:gd name="connsiteX14" fmla="*/ 0 w 10303329"/>
              <a:gd name="connsiteY14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058150 w 10303329"/>
              <a:gd name="connsiteY7" fmla="*/ 73478 h 22223186"/>
              <a:gd name="connsiteX8" fmla="*/ 9255583 w 10303329"/>
              <a:gd name="connsiteY8" fmla="*/ 0 h 22223186"/>
              <a:gd name="connsiteX9" fmla="*/ 10303329 w 10303329"/>
              <a:gd name="connsiteY9" fmla="*/ 1047746 h 22223186"/>
              <a:gd name="connsiteX10" fmla="*/ 10303329 w 10303329"/>
              <a:gd name="connsiteY10" fmla="*/ 21175440 h 22223186"/>
              <a:gd name="connsiteX11" fmla="*/ 9255583 w 10303329"/>
              <a:gd name="connsiteY11" fmla="*/ 22223186 h 22223186"/>
              <a:gd name="connsiteX12" fmla="*/ 1047746 w 10303329"/>
              <a:gd name="connsiteY12" fmla="*/ 22223186 h 22223186"/>
              <a:gd name="connsiteX13" fmla="*/ 0 w 10303329"/>
              <a:gd name="connsiteY13" fmla="*/ 21175440 h 22223186"/>
              <a:gd name="connsiteX14" fmla="*/ 0 w 10303329"/>
              <a:gd name="connsiteY14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78536 w 10303329"/>
              <a:gd name="connsiteY6" fmla="*/ 579665 h 22223186"/>
              <a:gd name="connsiteX7" fmla="*/ 8058150 w 10303329"/>
              <a:gd name="connsiteY7" fmla="*/ 73478 h 22223186"/>
              <a:gd name="connsiteX8" fmla="*/ 9255583 w 10303329"/>
              <a:gd name="connsiteY8" fmla="*/ 0 h 22223186"/>
              <a:gd name="connsiteX9" fmla="*/ 10303329 w 10303329"/>
              <a:gd name="connsiteY9" fmla="*/ 1047746 h 22223186"/>
              <a:gd name="connsiteX10" fmla="*/ 10303329 w 10303329"/>
              <a:gd name="connsiteY10" fmla="*/ 21175440 h 22223186"/>
              <a:gd name="connsiteX11" fmla="*/ 9255583 w 10303329"/>
              <a:gd name="connsiteY11" fmla="*/ 22223186 h 22223186"/>
              <a:gd name="connsiteX12" fmla="*/ 1047746 w 10303329"/>
              <a:gd name="connsiteY12" fmla="*/ 22223186 h 22223186"/>
              <a:gd name="connsiteX13" fmla="*/ 0 w 10303329"/>
              <a:gd name="connsiteY13" fmla="*/ 21175440 h 22223186"/>
              <a:gd name="connsiteX14" fmla="*/ 0 w 10303329"/>
              <a:gd name="connsiteY14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94864 w 10303329"/>
              <a:gd name="connsiteY6" fmla="*/ 595993 h 22223186"/>
              <a:gd name="connsiteX7" fmla="*/ 8058150 w 10303329"/>
              <a:gd name="connsiteY7" fmla="*/ 73478 h 22223186"/>
              <a:gd name="connsiteX8" fmla="*/ 9255583 w 10303329"/>
              <a:gd name="connsiteY8" fmla="*/ 0 h 22223186"/>
              <a:gd name="connsiteX9" fmla="*/ 10303329 w 10303329"/>
              <a:gd name="connsiteY9" fmla="*/ 1047746 h 22223186"/>
              <a:gd name="connsiteX10" fmla="*/ 10303329 w 10303329"/>
              <a:gd name="connsiteY10" fmla="*/ 21175440 h 22223186"/>
              <a:gd name="connsiteX11" fmla="*/ 9255583 w 10303329"/>
              <a:gd name="connsiteY11" fmla="*/ 22223186 h 22223186"/>
              <a:gd name="connsiteX12" fmla="*/ 1047746 w 10303329"/>
              <a:gd name="connsiteY12" fmla="*/ 22223186 h 22223186"/>
              <a:gd name="connsiteX13" fmla="*/ 0 w 10303329"/>
              <a:gd name="connsiteY13" fmla="*/ 21175440 h 22223186"/>
              <a:gd name="connsiteX14" fmla="*/ 0 w 10303329"/>
              <a:gd name="connsiteY14" fmla="*/ 1047746 h 22223186"/>
              <a:gd name="connsiteX0" fmla="*/ 0 w 10303329"/>
              <a:gd name="connsiteY0" fmla="*/ 1047746 h 22223186"/>
              <a:gd name="connsiteX1" fmla="*/ 1047746 w 10303329"/>
              <a:gd name="connsiteY1" fmla="*/ 0 h 22223186"/>
              <a:gd name="connsiteX2" fmla="*/ 2206735 w 10303329"/>
              <a:gd name="connsiteY2" fmla="*/ 18231 h 22223186"/>
              <a:gd name="connsiteX3" fmla="*/ 2382149 w 10303329"/>
              <a:gd name="connsiteY3" fmla="*/ 586402 h 22223186"/>
              <a:gd name="connsiteX4" fmla="*/ 2775858 w 10303329"/>
              <a:gd name="connsiteY4" fmla="*/ 832755 h 22223186"/>
              <a:gd name="connsiteX5" fmla="*/ 7331528 w 10303329"/>
              <a:gd name="connsiteY5" fmla="*/ 832757 h 22223186"/>
              <a:gd name="connsiteX6" fmla="*/ 7894864 w 10303329"/>
              <a:gd name="connsiteY6" fmla="*/ 595993 h 22223186"/>
              <a:gd name="connsiteX7" fmla="*/ 8017329 w 10303329"/>
              <a:gd name="connsiteY7" fmla="*/ 204107 h 22223186"/>
              <a:gd name="connsiteX8" fmla="*/ 8058150 w 10303329"/>
              <a:gd name="connsiteY8" fmla="*/ 73478 h 22223186"/>
              <a:gd name="connsiteX9" fmla="*/ 9255583 w 10303329"/>
              <a:gd name="connsiteY9" fmla="*/ 0 h 22223186"/>
              <a:gd name="connsiteX10" fmla="*/ 10303329 w 10303329"/>
              <a:gd name="connsiteY10" fmla="*/ 1047746 h 22223186"/>
              <a:gd name="connsiteX11" fmla="*/ 10303329 w 10303329"/>
              <a:gd name="connsiteY11" fmla="*/ 21175440 h 22223186"/>
              <a:gd name="connsiteX12" fmla="*/ 9255583 w 10303329"/>
              <a:gd name="connsiteY12" fmla="*/ 22223186 h 22223186"/>
              <a:gd name="connsiteX13" fmla="*/ 1047746 w 10303329"/>
              <a:gd name="connsiteY13" fmla="*/ 22223186 h 22223186"/>
              <a:gd name="connsiteX14" fmla="*/ 0 w 10303329"/>
              <a:gd name="connsiteY14" fmla="*/ 21175440 h 22223186"/>
              <a:gd name="connsiteX15" fmla="*/ 0 w 10303329"/>
              <a:gd name="connsiteY15" fmla="*/ 1047746 h 22223186"/>
              <a:gd name="connsiteX0" fmla="*/ 0 w 10303329"/>
              <a:gd name="connsiteY0" fmla="*/ 1115259 h 22290699"/>
              <a:gd name="connsiteX1" fmla="*/ 1047746 w 10303329"/>
              <a:gd name="connsiteY1" fmla="*/ 67513 h 22290699"/>
              <a:gd name="connsiteX2" fmla="*/ 2206735 w 10303329"/>
              <a:gd name="connsiteY2" fmla="*/ 85744 h 22290699"/>
              <a:gd name="connsiteX3" fmla="*/ 2382149 w 10303329"/>
              <a:gd name="connsiteY3" fmla="*/ 653915 h 22290699"/>
              <a:gd name="connsiteX4" fmla="*/ 2775858 w 10303329"/>
              <a:gd name="connsiteY4" fmla="*/ 900268 h 22290699"/>
              <a:gd name="connsiteX5" fmla="*/ 7331528 w 10303329"/>
              <a:gd name="connsiteY5" fmla="*/ 900270 h 22290699"/>
              <a:gd name="connsiteX6" fmla="*/ 7894864 w 10303329"/>
              <a:gd name="connsiteY6" fmla="*/ 663506 h 22290699"/>
              <a:gd name="connsiteX7" fmla="*/ 8017329 w 10303329"/>
              <a:gd name="connsiteY7" fmla="*/ 271620 h 22290699"/>
              <a:gd name="connsiteX8" fmla="*/ 8058150 w 10303329"/>
              <a:gd name="connsiteY8" fmla="*/ 140991 h 22290699"/>
              <a:gd name="connsiteX9" fmla="*/ 8123464 w 10303329"/>
              <a:gd name="connsiteY9" fmla="*/ 108334 h 22290699"/>
              <a:gd name="connsiteX10" fmla="*/ 9255583 w 10303329"/>
              <a:gd name="connsiteY10" fmla="*/ 67513 h 22290699"/>
              <a:gd name="connsiteX11" fmla="*/ 10303329 w 10303329"/>
              <a:gd name="connsiteY11" fmla="*/ 1115259 h 22290699"/>
              <a:gd name="connsiteX12" fmla="*/ 10303329 w 10303329"/>
              <a:gd name="connsiteY12" fmla="*/ 21242953 h 22290699"/>
              <a:gd name="connsiteX13" fmla="*/ 9255583 w 10303329"/>
              <a:gd name="connsiteY13" fmla="*/ 22290699 h 22290699"/>
              <a:gd name="connsiteX14" fmla="*/ 1047746 w 10303329"/>
              <a:gd name="connsiteY14" fmla="*/ 22290699 h 22290699"/>
              <a:gd name="connsiteX15" fmla="*/ 0 w 10303329"/>
              <a:gd name="connsiteY15" fmla="*/ 21242953 h 22290699"/>
              <a:gd name="connsiteX16" fmla="*/ 0 w 10303329"/>
              <a:gd name="connsiteY16" fmla="*/ 1115259 h 22290699"/>
              <a:gd name="connsiteX0" fmla="*/ 0 w 10303329"/>
              <a:gd name="connsiteY0" fmla="*/ 1115259 h 22290699"/>
              <a:gd name="connsiteX1" fmla="*/ 1047746 w 10303329"/>
              <a:gd name="connsiteY1" fmla="*/ 67513 h 22290699"/>
              <a:gd name="connsiteX2" fmla="*/ 2206735 w 10303329"/>
              <a:gd name="connsiteY2" fmla="*/ 85744 h 22290699"/>
              <a:gd name="connsiteX3" fmla="*/ 2382149 w 10303329"/>
              <a:gd name="connsiteY3" fmla="*/ 653915 h 22290699"/>
              <a:gd name="connsiteX4" fmla="*/ 2775858 w 10303329"/>
              <a:gd name="connsiteY4" fmla="*/ 900268 h 22290699"/>
              <a:gd name="connsiteX5" fmla="*/ 7331528 w 10303329"/>
              <a:gd name="connsiteY5" fmla="*/ 900270 h 22290699"/>
              <a:gd name="connsiteX6" fmla="*/ 7894864 w 10303329"/>
              <a:gd name="connsiteY6" fmla="*/ 663506 h 22290699"/>
              <a:gd name="connsiteX7" fmla="*/ 8017329 w 10303329"/>
              <a:gd name="connsiteY7" fmla="*/ 271620 h 22290699"/>
              <a:gd name="connsiteX8" fmla="*/ 8123464 w 10303329"/>
              <a:gd name="connsiteY8" fmla="*/ 108334 h 22290699"/>
              <a:gd name="connsiteX9" fmla="*/ 9255583 w 10303329"/>
              <a:gd name="connsiteY9" fmla="*/ 67513 h 22290699"/>
              <a:gd name="connsiteX10" fmla="*/ 10303329 w 10303329"/>
              <a:gd name="connsiteY10" fmla="*/ 1115259 h 22290699"/>
              <a:gd name="connsiteX11" fmla="*/ 10303329 w 10303329"/>
              <a:gd name="connsiteY11" fmla="*/ 21242953 h 22290699"/>
              <a:gd name="connsiteX12" fmla="*/ 9255583 w 10303329"/>
              <a:gd name="connsiteY12" fmla="*/ 22290699 h 22290699"/>
              <a:gd name="connsiteX13" fmla="*/ 1047746 w 10303329"/>
              <a:gd name="connsiteY13" fmla="*/ 22290699 h 22290699"/>
              <a:gd name="connsiteX14" fmla="*/ 0 w 10303329"/>
              <a:gd name="connsiteY14" fmla="*/ 21242953 h 22290699"/>
              <a:gd name="connsiteX15" fmla="*/ 0 w 10303329"/>
              <a:gd name="connsiteY15" fmla="*/ 1115259 h 22290699"/>
              <a:gd name="connsiteX0" fmla="*/ 0 w 10303329"/>
              <a:gd name="connsiteY0" fmla="*/ 1048170 h 22223610"/>
              <a:gd name="connsiteX1" fmla="*/ 1047746 w 10303329"/>
              <a:gd name="connsiteY1" fmla="*/ 424 h 22223610"/>
              <a:gd name="connsiteX2" fmla="*/ 2206735 w 10303329"/>
              <a:gd name="connsiteY2" fmla="*/ 18655 h 22223610"/>
              <a:gd name="connsiteX3" fmla="*/ 2382149 w 10303329"/>
              <a:gd name="connsiteY3" fmla="*/ 586826 h 22223610"/>
              <a:gd name="connsiteX4" fmla="*/ 2775858 w 10303329"/>
              <a:gd name="connsiteY4" fmla="*/ 833179 h 22223610"/>
              <a:gd name="connsiteX5" fmla="*/ 7331528 w 10303329"/>
              <a:gd name="connsiteY5" fmla="*/ 833181 h 22223610"/>
              <a:gd name="connsiteX6" fmla="*/ 7894864 w 10303329"/>
              <a:gd name="connsiteY6" fmla="*/ 596417 h 22223610"/>
              <a:gd name="connsiteX7" fmla="*/ 8017329 w 10303329"/>
              <a:gd name="connsiteY7" fmla="*/ 204531 h 22223610"/>
              <a:gd name="connsiteX8" fmla="*/ 8123464 w 10303329"/>
              <a:gd name="connsiteY8" fmla="*/ 41245 h 22223610"/>
              <a:gd name="connsiteX9" fmla="*/ 9255583 w 10303329"/>
              <a:gd name="connsiteY9" fmla="*/ 424 h 22223610"/>
              <a:gd name="connsiteX10" fmla="*/ 10303329 w 10303329"/>
              <a:gd name="connsiteY10" fmla="*/ 1048170 h 22223610"/>
              <a:gd name="connsiteX11" fmla="*/ 10303329 w 10303329"/>
              <a:gd name="connsiteY11" fmla="*/ 21175864 h 22223610"/>
              <a:gd name="connsiteX12" fmla="*/ 9255583 w 10303329"/>
              <a:gd name="connsiteY12" fmla="*/ 22223610 h 22223610"/>
              <a:gd name="connsiteX13" fmla="*/ 1047746 w 10303329"/>
              <a:gd name="connsiteY13" fmla="*/ 22223610 h 22223610"/>
              <a:gd name="connsiteX14" fmla="*/ 0 w 10303329"/>
              <a:gd name="connsiteY14" fmla="*/ 21175864 h 22223610"/>
              <a:gd name="connsiteX15" fmla="*/ 0 w 10303329"/>
              <a:gd name="connsiteY15" fmla="*/ 1048170 h 22223610"/>
              <a:gd name="connsiteX0" fmla="*/ 0 w 10303329"/>
              <a:gd name="connsiteY0" fmla="*/ 1048504 h 22223944"/>
              <a:gd name="connsiteX1" fmla="*/ 1047746 w 10303329"/>
              <a:gd name="connsiteY1" fmla="*/ 758 h 22223944"/>
              <a:gd name="connsiteX2" fmla="*/ 2206735 w 10303329"/>
              <a:gd name="connsiteY2" fmla="*/ 18989 h 22223944"/>
              <a:gd name="connsiteX3" fmla="*/ 2382149 w 10303329"/>
              <a:gd name="connsiteY3" fmla="*/ 587160 h 22223944"/>
              <a:gd name="connsiteX4" fmla="*/ 2775858 w 10303329"/>
              <a:gd name="connsiteY4" fmla="*/ 833513 h 22223944"/>
              <a:gd name="connsiteX5" fmla="*/ 7331528 w 10303329"/>
              <a:gd name="connsiteY5" fmla="*/ 833515 h 22223944"/>
              <a:gd name="connsiteX6" fmla="*/ 7894864 w 10303329"/>
              <a:gd name="connsiteY6" fmla="*/ 596751 h 22223944"/>
              <a:gd name="connsiteX7" fmla="*/ 8017329 w 10303329"/>
              <a:gd name="connsiteY7" fmla="*/ 204865 h 22223944"/>
              <a:gd name="connsiteX8" fmla="*/ 8147957 w 10303329"/>
              <a:gd name="connsiteY8" fmla="*/ 25250 h 22223944"/>
              <a:gd name="connsiteX9" fmla="*/ 9255583 w 10303329"/>
              <a:gd name="connsiteY9" fmla="*/ 758 h 22223944"/>
              <a:gd name="connsiteX10" fmla="*/ 10303329 w 10303329"/>
              <a:gd name="connsiteY10" fmla="*/ 1048504 h 22223944"/>
              <a:gd name="connsiteX11" fmla="*/ 10303329 w 10303329"/>
              <a:gd name="connsiteY11" fmla="*/ 21176198 h 22223944"/>
              <a:gd name="connsiteX12" fmla="*/ 9255583 w 10303329"/>
              <a:gd name="connsiteY12" fmla="*/ 22223944 h 22223944"/>
              <a:gd name="connsiteX13" fmla="*/ 1047746 w 10303329"/>
              <a:gd name="connsiteY13" fmla="*/ 22223944 h 22223944"/>
              <a:gd name="connsiteX14" fmla="*/ 0 w 10303329"/>
              <a:gd name="connsiteY14" fmla="*/ 21176198 h 22223944"/>
              <a:gd name="connsiteX15" fmla="*/ 0 w 10303329"/>
              <a:gd name="connsiteY15" fmla="*/ 1048504 h 22223944"/>
              <a:gd name="connsiteX0" fmla="*/ 0 w 10303329"/>
              <a:gd name="connsiteY0" fmla="*/ 1048504 h 22223944"/>
              <a:gd name="connsiteX1" fmla="*/ 1047746 w 10303329"/>
              <a:gd name="connsiteY1" fmla="*/ 758 h 22223944"/>
              <a:gd name="connsiteX2" fmla="*/ 2206735 w 10303329"/>
              <a:gd name="connsiteY2" fmla="*/ 18989 h 22223944"/>
              <a:gd name="connsiteX3" fmla="*/ 2382149 w 10303329"/>
              <a:gd name="connsiteY3" fmla="*/ 587160 h 22223944"/>
              <a:gd name="connsiteX4" fmla="*/ 2775858 w 10303329"/>
              <a:gd name="connsiteY4" fmla="*/ 833513 h 22223944"/>
              <a:gd name="connsiteX5" fmla="*/ 7331528 w 10303329"/>
              <a:gd name="connsiteY5" fmla="*/ 833515 h 22223944"/>
              <a:gd name="connsiteX6" fmla="*/ 7894864 w 10303329"/>
              <a:gd name="connsiteY6" fmla="*/ 596751 h 22223944"/>
              <a:gd name="connsiteX7" fmla="*/ 8017329 w 10303329"/>
              <a:gd name="connsiteY7" fmla="*/ 204865 h 22223944"/>
              <a:gd name="connsiteX8" fmla="*/ 8147957 w 10303329"/>
              <a:gd name="connsiteY8" fmla="*/ 25250 h 22223944"/>
              <a:gd name="connsiteX9" fmla="*/ 9255583 w 10303329"/>
              <a:gd name="connsiteY9" fmla="*/ 758 h 22223944"/>
              <a:gd name="connsiteX10" fmla="*/ 10303329 w 10303329"/>
              <a:gd name="connsiteY10" fmla="*/ 1048504 h 22223944"/>
              <a:gd name="connsiteX11" fmla="*/ 10303329 w 10303329"/>
              <a:gd name="connsiteY11" fmla="*/ 21176198 h 22223944"/>
              <a:gd name="connsiteX12" fmla="*/ 9255583 w 10303329"/>
              <a:gd name="connsiteY12" fmla="*/ 22223944 h 22223944"/>
              <a:gd name="connsiteX13" fmla="*/ 1047746 w 10303329"/>
              <a:gd name="connsiteY13" fmla="*/ 22223944 h 22223944"/>
              <a:gd name="connsiteX14" fmla="*/ 0 w 10303329"/>
              <a:gd name="connsiteY14" fmla="*/ 21176198 h 22223944"/>
              <a:gd name="connsiteX15" fmla="*/ 0 w 10303329"/>
              <a:gd name="connsiteY15" fmla="*/ 1048504 h 22223944"/>
              <a:gd name="connsiteX0" fmla="*/ 0 w 10303329"/>
              <a:gd name="connsiteY0" fmla="*/ 1048504 h 22223944"/>
              <a:gd name="connsiteX1" fmla="*/ 1047746 w 10303329"/>
              <a:gd name="connsiteY1" fmla="*/ 758 h 22223944"/>
              <a:gd name="connsiteX2" fmla="*/ 2206735 w 10303329"/>
              <a:gd name="connsiteY2" fmla="*/ 18989 h 22223944"/>
              <a:gd name="connsiteX3" fmla="*/ 2382149 w 10303329"/>
              <a:gd name="connsiteY3" fmla="*/ 587160 h 22223944"/>
              <a:gd name="connsiteX4" fmla="*/ 2775858 w 10303329"/>
              <a:gd name="connsiteY4" fmla="*/ 833513 h 22223944"/>
              <a:gd name="connsiteX5" fmla="*/ 7331528 w 10303329"/>
              <a:gd name="connsiteY5" fmla="*/ 833515 h 22223944"/>
              <a:gd name="connsiteX6" fmla="*/ 7894864 w 10303329"/>
              <a:gd name="connsiteY6" fmla="*/ 596751 h 22223944"/>
              <a:gd name="connsiteX7" fmla="*/ 8017329 w 10303329"/>
              <a:gd name="connsiteY7" fmla="*/ 204865 h 22223944"/>
              <a:gd name="connsiteX8" fmla="*/ 8147957 w 10303329"/>
              <a:gd name="connsiteY8" fmla="*/ 25250 h 22223944"/>
              <a:gd name="connsiteX9" fmla="*/ 9255583 w 10303329"/>
              <a:gd name="connsiteY9" fmla="*/ 758 h 22223944"/>
              <a:gd name="connsiteX10" fmla="*/ 10303329 w 10303329"/>
              <a:gd name="connsiteY10" fmla="*/ 1048504 h 22223944"/>
              <a:gd name="connsiteX11" fmla="*/ 10303329 w 10303329"/>
              <a:gd name="connsiteY11" fmla="*/ 21176198 h 22223944"/>
              <a:gd name="connsiteX12" fmla="*/ 9255583 w 10303329"/>
              <a:gd name="connsiteY12" fmla="*/ 22223944 h 22223944"/>
              <a:gd name="connsiteX13" fmla="*/ 1047746 w 10303329"/>
              <a:gd name="connsiteY13" fmla="*/ 22223944 h 22223944"/>
              <a:gd name="connsiteX14" fmla="*/ 0 w 10303329"/>
              <a:gd name="connsiteY14" fmla="*/ 21176198 h 22223944"/>
              <a:gd name="connsiteX15" fmla="*/ 0 w 10303329"/>
              <a:gd name="connsiteY15" fmla="*/ 1048504 h 22223944"/>
              <a:gd name="connsiteX0" fmla="*/ 0 w 10303329"/>
              <a:gd name="connsiteY0" fmla="*/ 1048504 h 22223944"/>
              <a:gd name="connsiteX1" fmla="*/ 1047746 w 10303329"/>
              <a:gd name="connsiteY1" fmla="*/ 758 h 22223944"/>
              <a:gd name="connsiteX2" fmla="*/ 2206735 w 10303329"/>
              <a:gd name="connsiteY2" fmla="*/ 18989 h 22223944"/>
              <a:gd name="connsiteX3" fmla="*/ 2382149 w 10303329"/>
              <a:gd name="connsiteY3" fmla="*/ 587160 h 22223944"/>
              <a:gd name="connsiteX4" fmla="*/ 2775858 w 10303329"/>
              <a:gd name="connsiteY4" fmla="*/ 833513 h 22223944"/>
              <a:gd name="connsiteX5" fmla="*/ 7331528 w 10303329"/>
              <a:gd name="connsiteY5" fmla="*/ 833515 h 22223944"/>
              <a:gd name="connsiteX6" fmla="*/ 7894864 w 10303329"/>
              <a:gd name="connsiteY6" fmla="*/ 596751 h 22223944"/>
              <a:gd name="connsiteX7" fmla="*/ 8017329 w 10303329"/>
              <a:gd name="connsiteY7" fmla="*/ 204865 h 22223944"/>
              <a:gd name="connsiteX8" fmla="*/ 8147957 w 10303329"/>
              <a:gd name="connsiteY8" fmla="*/ 25250 h 22223944"/>
              <a:gd name="connsiteX9" fmla="*/ 9255583 w 10303329"/>
              <a:gd name="connsiteY9" fmla="*/ 758 h 22223944"/>
              <a:gd name="connsiteX10" fmla="*/ 10303329 w 10303329"/>
              <a:gd name="connsiteY10" fmla="*/ 1048504 h 22223944"/>
              <a:gd name="connsiteX11" fmla="*/ 10303329 w 10303329"/>
              <a:gd name="connsiteY11" fmla="*/ 21176198 h 22223944"/>
              <a:gd name="connsiteX12" fmla="*/ 9255583 w 10303329"/>
              <a:gd name="connsiteY12" fmla="*/ 22223944 h 22223944"/>
              <a:gd name="connsiteX13" fmla="*/ 1047746 w 10303329"/>
              <a:gd name="connsiteY13" fmla="*/ 22223944 h 22223944"/>
              <a:gd name="connsiteX14" fmla="*/ 0 w 10303329"/>
              <a:gd name="connsiteY14" fmla="*/ 21176198 h 22223944"/>
              <a:gd name="connsiteX15" fmla="*/ 0 w 10303329"/>
              <a:gd name="connsiteY15" fmla="*/ 1048504 h 22223944"/>
              <a:gd name="connsiteX0" fmla="*/ 0 w 10303329"/>
              <a:gd name="connsiteY0" fmla="*/ 1048504 h 22223944"/>
              <a:gd name="connsiteX1" fmla="*/ 1047746 w 10303329"/>
              <a:gd name="connsiteY1" fmla="*/ 758 h 22223944"/>
              <a:gd name="connsiteX2" fmla="*/ 2206735 w 10303329"/>
              <a:gd name="connsiteY2" fmla="*/ 18989 h 22223944"/>
              <a:gd name="connsiteX3" fmla="*/ 2382149 w 10303329"/>
              <a:gd name="connsiteY3" fmla="*/ 587160 h 22223944"/>
              <a:gd name="connsiteX4" fmla="*/ 2775858 w 10303329"/>
              <a:gd name="connsiteY4" fmla="*/ 833513 h 22223944"/>
              <a:gd name="connsiteX5" fmla="*/ 7331528 w 10303329"/>
              <a:gd name="connsiteY5" fmla="*/ 833515 h 22223944"/>
              <a:gd name="connsiteX6" fmla="*/ 7894864 w 10303329"/>
              <a:gd name="connsiteY6" fmla="*/ 596751 h 22223944"/>
              <a:gd name="connsiteX7" fmla="*/ 8017329 w 10303329"/>
              <a:gd name="connsiteY7" fmla="*/ 204865 h 22223944"/>
              <a:gd name="connsiteX8" fmla="*/ 8147957 w 10303329"/>
              <a:gd name="connsiteY8" fmla="*/ 25250 h 22223944"/>
              <a:gd name="connsiteX9" fmla="*/ 9255583 w 10303329"/>
              <a:gd name="connsiteY9" fmla="*/ 758 h 22223944"/>
              <a:gd name="connsiteX10" fmla="*/ 10303329 w 10303329"/>
              <a:gd name="connsiteY10" fmla="*/ 1048504 h 22223944"/>
              <a:gd name="connsiteX11" fmla="*/ 10303329 w 10303329"/>
              <a:gd name="connsiteY11" fmla="*/ 21176198 h 22223944"/>
              <a:gd name="connsiteX12" fmla="*/ 9255583 w 10303329"/>
              <a:gd name="connsiteY12" fmla="*/ 22223944 h 22223944"/>
              <a:gd name="connsiteX13" fmla="*/ 1047746 w 10303329"/>
              <a:gd name="connsiteY13" fmla="*/ 22223944 h 22223944"/>
              <a:gd name="connsiteX14" fmla="*/ 0 w 10303329"/>
              <a:gd name="connsiteY14" fmla="*/ 21176198 h 22223944"/>
              <a:gd name="connsiteX15" fmla="*/ 0 w 10303329"/>
              <a:gd name="connsiteY15" fmla="*/ 1048504 h 22223944"/>
              <a:gd name="connsiteX0" fmla="*/ 0 w 10303329"/>
              <a:gd name="connsiteY0" fmla="*/ 1048504 h 22223944"/>
              <a:gd name="connsiteX1" fmla="*/ 1047746 w 10303329"/>
              <a:gd name="connsiteY1" fmla="*/ 758 h 22223944"/>
              <a:gd name="connsiteX2" fmla="*/ 2206735 w 10303329"/>
              <a:gd name="connsiteY2" fmla="*/ 18989 h 22223944"/>
              <a:gd name="connsiteX3" fmla="*/ 2382149 w 10303329"/>
              <a:gd name="connsiteY3" fmla="*/ 587160 h 22223944"/>
              <a:gd name="connsiteX4" fmla="*/ 2775858 w 10303329"/>
              <a:gd name="connsiteY4" fmla="*/ 833513 h 22223944"/>
              <a:gd name="connsiteX5" fmla="*/ 7331528 w 10303329"/>
              <a:gd name="connsiteY5" fmla="*/ 833515 h 22223944"/>
              <a:gd name="connsiteX6" fmla="*/ 7894864 w 10303329"/>
              <a:gd name="connsiteY6" fmla="*/ 596751 h 22223944"/>
              <a:gd name="connsiteX7" fmla="*/ 8017329 w 10303329"/>
              <a:gd name="connsiteY7" fmla="*/ 204865 h 22223944"/>
              <a:gd name="connsiteX8" fmla="*/ 8147957 w 10303329"/>
              <a:gd name="connsiteY8" fmla="*/ 25250 h 22223944"/>
              <a:gd name="connsiteX9" fmla="*/ 9255583 w 10303329"/>
              <a:gd name="connsiteY9" fmla="*/ 758 h 22223944"/>
              <a:gd name="connsiteX10" fmla="*/ 10303329 w 10303329"/>
              <a:gd name="connsiteY10" fmla="*/ 1048504 h 22223944"/>
              <a:gd name="connsiteX11" fmla="*/ 10303329 w 10303329"/>
              <a:gd name="connsiteY11" fmla="*/ 21176198 h 22223944"/>
              <a:gd name="connsiteX12" fmla="*/ 9255583 w 10303329"/>
              <a:gd name="connsiteY12" fmla="*/ 22223944 h 22223944"/>
              <a:gd name="connsiteX13" fmla="*/ 1047746 w 10303329"/>
              <a:gd name="connsiteY13" fmla="*/ 22223944 h 22223944"/>
              <a:gd name="connsiteX14" fmla="*/ 0 w 10303329"/>
              <a:gd name="connsiteY14" fmla="*/ 21176198 h 22223944"/>
              <a:gd name="connsiteX15" fmla="*/ 0 w 10303329"/>
              <a:gd name="connsiteY15" fmla="*/ 1048504 h 222239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0303329" h="22223944">
                <a:moveTo>
                  <a:pt x="0" y="1048504"/>
                </a:moveTo>
                <a:cubicBezTo>
                  <a:pt x="0" y="469850"/>
                  <a:pt x="469092" y="758"/>
                  <a:pt x="1047746" y="758"/>
                </a:cubicBezTo>
                <a:lnTo>
                  <a:pt x="2206735" y="18989"/>
                </a:lnTo>
                <a:cubicBezTo>
                  <a:pt x="2341538" y="26227"/>
                  <a:pt x="2242035" y="356948"/>
                  <a:pt x="2382149" y="587160"/>
                </a:cubicBezTo>
                <a:cubicBezTo>
                  <a:pt x="2507943" y="745479"/>
                  <a:pt x="2650063" y="830316"/>
                  <a:pt x="2775858" y="833513"/>
                </a:cubicBezTo>
                <a:lnTo>
                  <a:pt x="7331528" y="833515"/>
                </a:lnTo>
                <a:cubicBezTo>
                  <a:pt x="7513864" y="838958"/>
                  <a:pt x="7737020" y="844400"/>
                  <a:pt x="7894864" y="596751"/>
                </a:cubicBezTo>
                <a:cubicBezTo>
                  <a:pt x="7984671" y="467483"/>
                  <a:pt x="8011886" y="387201"/>
                  <a:pt x="8017329" y="204865"/>
                </a:cubicBezTo>
                <a:cubicBezTo>
                  <a:pt x="7998279" y="128665"/>
                  <a:pt x="8031388" y="34775"/>
                  <a:pt x="8147957" y="25250"/>
                </a:cubicBezTo>
                <a:cubicBezTo>
                  <a:pt x="8347529" y="13004"/>
                  <a:pt x="8802465" y="-3778"/>
                  <a:pt x="9255583" y="758"/>
                </a:cubicBezTo>
                <a:cubicBezTo>
                  <a:pt x="9834237" y="758"/>
                  <a:pt x="10303329" y="469850"/>
                  <a:pt x="10303329" y="1048504"/>
                </a:cubicBezTo>
                <a:lnTo>
                  <a:pt x="10303329" y="21176198"/>
                </a:lnTo>
                <a:cubicBezTo>
                  <a:pt x="10303329" y="21754852"/>
                  <a:pt x="9834237" y="22223944"/>
                  <a:pt x="9255583" y="22223944"/>
                </a:cubicBezTo>
                <a:lnTo>
                  <a:pt x="1047746" y="22223944"/>
                </a:lnTo>
                <a:cubicBezTo>
                  <a:pt x="469092" y="22223944"/>
                  <a:pt x="0" y="21754852"/>
                  <a:pt x="0" y="21176198"/>
                </a:cubicBezTo>
                <a:lnTo>
                  <a:pt x="0" y="1048504"/>
                </a:lnTo>
                <a:close/>
              </a:path>
            </a:pathLst>
          </a:custGeom>
          <a:ln>
            <a:noFill/>
          </a:ln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5" name="Espace réservé du numéro de diapositive 1">
            <a:extLst>
              <a:ext uri="{FF2B5EF4-FFF2-40B4-BE49-F238E27FC236}">
                <a16:creationId xmlns:a16="http://schemas.microsoft.com/office/drawing/2014/main" id="{1AF82CB7-9443-AE40-834E-B64C7E44C1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rgbClr val="405A9C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13988898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_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0FC6D31B-8418-47E2-BEC8-4C4D884AEE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7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0FC6D31B-8418-47E2-BEC8-4C4D884AEE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BFC7BE2-5BD4-49F5-A3FC-FE37C1AC966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2" name="Espace réservé du texte 11">
            <a:extLst>
              <a:ext uri="{FF2B5EF4-FFF2-40B4-BE49-F238E27FC236}">
                <a16:creationId xmlns:a16="http://schemas.microsoft.com/office/drawing/2014/main" id="{EBE94776-9B87-471E-83E1-9924DF80A3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828892" y="3287"/>
            <a:ext cx="2231701" cy="4067267"/>
          </a:xfrm>
        </p:spPr>
        <p:txBody>
          <a:bodyPr wrap="none">
            <a:spAutoFit/>
          </a:bodyPr>
          <a:lstStyle>
            <a:lvl1pPr marL="0" indent="0">
              <a:buNone/>
              <a:defRPr sz="28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0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A7CC7BB1-2504-412F-9361-BB77A4C066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9207" y="546021"/>
            <a:ext cx="7551996" cy="1587679"/>
          </a:xfrm>
        </p:spPr>
        <p:txBody>
          <a:bodyPr lIns="72000" anchor="t">
            <a:spAutoFit/>
          </a:bodyPr>
          <a:lstStyle>
            <a:lvl1pPr>
              <a:lnSpc>
                <a:spcPct val="80000"/>
              </a:lnSpc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GB"/>
              <a:t>TITLE OF THE CHAPTER</a:t>
            </a:r>
          </a:p>
        </p:txBody>
      </p:sp>
      <p:sp>
        <p:nvSpPr>
          <p:cNvPr id="19" name="Espace réservé du texte 2">
            <a:extLst>
              <a:ext uri="{FF2B5EF4-FFF2-40B4-BE49-F238E27FC236}">
                <a16:creationId xmlns:a16="http://schemas.microsoft.com/office/drawing/2014/main" id="{C8046952-CF6F-4606-B04F-66EE0742EF9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52215" y="2816932"/>
            <a:ext cx="7551996" cy="461665"/>
          </a:xfrm>
        </p:spPr>
        <p:txBody>
          <a:bodyPr lIns="108000" rIns="180000">
            <a:sp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Subtitle of the chapter</a:t>
            </a: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12566D07-C10F-4149-9D24-43409582809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1" name="Espace réservé du numéro de diapositive 2">
            <a:extLst>
              <a:ext uri="{FF2B5EF4-FFF2-40B4-BE49-F238E27FC236}">
                <a16:creationId xmlns:a16="http://schemas.microsoft.com/office/drawing/2014/main" id="{DA7B4581-DBF3-4675-85A2-573E4F1A22C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4" name="Espace réservé du pied de page 4">
            <a:extLst>
              <a:ext uri="{FF2B5EF4-FFF2-40B4-BE49-F238E27FC236}">
                <a16:creationId xmlns:a16="http://schemas.microsoft.com/office/drawing/2014/main" id="{9E7FCC28-2779-438A-83C5-F5B120BFA1BE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</p:spTree>
    <p:extLst>
      <p:ext uri="{BB962C8B-B14F-4D97-AF65-F5344CB8AC3E}">
        <p14:creationId xmlns:p14="http://schemas.microsoft.com/office/powerpoint/2010/main" val="1779691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156">
          <p15:clr>
            <a:srgbClr val="F26B43"/>
          </p15:clr>
        </p15:guide>
        <p15:guide id="2" orient="horz" pos="3906">
          <p15:clr>
            <a:srgbClr val="F26B43"/>
          </p15:clr>
        </p15:guide>
        <p15:guide id="3" pos="288">
          <p15:clr>
            <a:srgbClr val="F26B43"/>
          </p15:clr>
        </p15:guide>
        <p15:guide id="4" pos="360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4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03FBAD7D-854D-404C-B8B3-4E2C7D8E19D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CC22739F-880B-4A8D-A44A-FA27E469BBD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15" name="Espace réservé du numéro de diapositive 2">
            <a:extLst>
              <a:ext uri="{FF2B5EF4-FFF2-40B4-BE49-F238E27FC236}">
                <a16:creationId xmlns:a16="http://schemas.microsoft.com/office/drawing/2014/main" id="{3E5B363C-4834-4022-B3EF-4F0B2F86B4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536A3F82-5F59-45E4-A8C9-83EAACE14FE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DC39ED46-ACD4-4140-8AE3-6EA8A681D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B038926-763C-48F5-9721-AE1BAF188A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6756544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w/ Over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F46EEE2-D433-4038-B7D1-2766F2ACF07C}"/>
              </a:ext>
            </a:extLst>
          </p:cNvPr>
          <p:cNvSpPr/>
          <p:nvPr userDrawn="1"/>
        </p:nvSpPr>
        <p:spPr>
          <a:xfrm>
            <a:off x="0" y="190499"/>
            <a:ext cx="12192000" cy="762000"/>
          </a:xfrm>
          <a:prstGeom prst="rect">
            <a:avLst/>
          </a:prstGeom>
          <a:solidFill>
            <a:srgbClr val="FFFFFF"/>
          </a:solidFill>
          <a:ln w="3175">
            <a:noFill/>
          </a:ln>
          <a:effectLst>
            <a:outerShdw blurRad="38100" dist="12700" dir="5400000" algn="ctr" rotWithShape="0">
              <a:srgbClr val="000000">
                <a:alpha val="30000"/>
              </a:srgbClr>
            </a:outerShdw>
          </a:effec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t"/>
          <a:lstStyle/>
          <a:p>
            <a:pPr lvl="0"/>
            <a:endParaRPr lang="en-US" sz="1000"/>
          </a:p>
        </p:txBody>
      </p:sp>
      <p:pic>
        <p:nvPicPr>
          <p:cNvPr id="6" name="Picture 2" descr="Image result for ipsos logo">
            <a:extLst>
              <a:ext uri="{FF2B5EF4-FFF2-40B4-BE49-F238E27FC236}">
                <a16:creationId xmlns:a16="http://schemas.microsoft.com/office/drawing/2014/main" id="{C6031272-103C-4BFE-BE8B-33BC9FF1BCE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315" y="381000"/>
            <a:ext cx="413366" cy="380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58B8A517-2272-4E60-8AE7-00825004F4F9}"/>
              </a:ext>
            </a:extLst>
          </p:cNvPr>
          <p:cNvCxnSpPr>
            <a:cxnSpLocks/>
          </p:cNvCxnSpPr>
          <p:nvPr userDrawn="1"/>
        </p:nvCxnSpPr>
        <p:spPr>
          <a:xfrm>
            <a:off x="0" y="952499"/>
            <a:ext cx="12192000" cy="0"/>
          </a:xfrm>
          <a:prstGeom prst="line">
            <a:avLst/>
          </a:prstGeom>
          <a:ln w="9525">
            <a:gradFill>
              <a:gsLst>
                <a:gs pos="0">
                  <a:srgbClr val="EAEAEA"/>
                </a:gs>
                <a:gs pos="36000">
                  <a:srgbClr val="C0C0C0"/>
                </a:gs>
                <a:gs pos="8000">
                  <a:srgbClr val="C0C0C0"/>
                </a:gs>
                <a:gs pos="100000">
                  <a:srgbClr val="EAEAEA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4764C4EE-1354-418C-8BD8-8E25BF8E67B7}"/>
              </a:ext>
            </a:extLst>
          </p:cNvPr>
          <p:cNvCxnSpPr>
            <a:cxnSpLocks/>
          </p:cNvCxnSpPr>
          <p:nvPr userDrawn="1"/>
        </p:nvCxnSpPr>
        <p:spPr>
          <a:xfrm>
            <a:off x="0" y="188835"/>
            <a:ext cx="12192000" cy="0"/>
          </a:xfrm>
          <a:prstGeom prst="line">
            <a:avLst/>
          </a:prstGeom>
          <a:ln w="9525">
            <a:gradFill>
              <a:gsLst>
                <a:gs pos="0">
                  <a:srgbClr val="EAEAEA"/>
                </a:gs>
                <a:gs pos="74000">
                  <a:srgbClr val="C0C0C0"/>
                </a:gs>
                <a:gs pos="92000">
                  <a:srgbClr val="C0C0C0"/>
                </a:gs>
                <a:gs pos="100000">
                  <a:srgbClr val="EAEAEA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4BB5CC4-031F-4718-89D1-CE33E6BCEE3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F5C4097B-CCF6-41D1-8448-68A630EC44A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67327" y="540930"/>
            <a:ext cx="11233358" cy="2215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rgbClr val="292929"/>
                </a:solidFill>
                <a:latin typeface="Arial Black" panose="020B0A04020102020204" pitchFamily="34" charset="0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6C67CC5D-73F7-4924-A3AB-6FFD18B494E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7327" y="400051"/>
            <a:ext cx="11233358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000">
                <a:solidFill>
                  <a:srgbClr val="80808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overline title</a:t>
            </a:r>
          </a:p>
        </p:txBody>
      </p:sp>
    </p:spTree>
    <p:extLst>
      <p:ext uri="{BB962C8B-B14F-4D97-AF65-F5344CB8AC3E}">
        <p14:creationId xmlns:p14="http://schemas.microsoft.com/office/powerpoint/2010/main" val="2339321875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865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1FF10C85-C858-42F2-83FC-085ECE0AD8C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63819D-3826-4C37-A6B2-F6BF2FA7C1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E3BBFF9-605D-4045-AFCA-0630CAF6290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0" name="Cadre 9">
            <a:extLst>
              <a:ext uri="{FF2B5EF4-FFF2-40B4-BE49-F238E27FC236}">
                <a16:creationId xmlns:a16="http://schemas.microsoft.com/office/drawing/2014/main" id="{71754979-3E3E-4AB6-BD17-9DBB0BFA432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2" name="Espace réservé du contenu 1">
            <a:extLst>
              <a:ext uri="{FF2B5EF4-FFF2-40B4-BE49-F238E27FC236}">
                <a16:creationId xmlns:a16="http://schemas.microsoft.com/office/drawing/2014/main" id="{9A1B1297-2777-44D5-A483-C65E927E5C1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7584906" cy="3868080"/>
          </a:xfrm>
        </p:spPr>
        <p:txBody>
          <a:bodyPr/>
          <a:lstStyle>
            <a:lvl1pPr>
              <a:defRPr sz="1400"/>
            </a:lvl1pPr>
          </a:lstStyle>
          <a:p>
            <a:r>
              <a:rPr lang="fr-FR" err="1"/>
              <a:t>Add</a:t>
            </a:r>
            <a:r>
              <a:rPr lang="fr-FR"/>
              <a:t> a content</a:t>
            </a:r>
          </a:p>
        </p:txBody>
      </p:sp>
    </p:spTree>
    <p:extLst>
      <p:ext uri="{BB962C8B-B14F-4D97-AF65-F5344CB8AC3E}">
        <p14:creationId xmlns:p14="http://schemas.microsoft.com/office/powerpoint/2010/main" val="2516017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7">
            <a:extLst>
              <a:ext uri="{FF2B5EF4-FFF2-40B4-BE49-F238E27FC236}">
                <a16:creationId xmlns:a16="http://schemas.microsoft.com/office/drawing/2014/main" id="{BC5E8342-F414-491E-8914-99DC4E711EA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6096000" cy="6858000"/>
          </a:xfrm>
          <a:solidFill>
            <a:schemeClr val="accent1">
              <a:alpha val="20000"/>
            </a:schemeClr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786ED3-D902-460F-A991-92A34477E5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91350" y="1037431"/>
            <a:ext cx="4362450" cy="1325563"/>
          </a:xfrm>
        </p:spPr>
        <p:txBody>
          <a:bodyPr>
            <a:normAutofit/>
          </a:bodyPr>
          <a:lstStyle>
            <a:lvl1pPr algn="l"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E904E3E-7946-46C3-B96C-41DC4C005E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8B764B-5422-408E-9D04-54B83D1862AB}" type="datetimeFigureOut">
              <a:rPr lang="en-US" smtClean="0"/>
              <a:t>9/17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59EB45-47BF-4708-AC70-9389CCD495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74B829-BDAC-4C3C-9FE3-B8A245CCD6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813BF9-5145-4417-B95D-FA86279738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946482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7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5266C08B-2F7E-4F8B-BF8E-E61C11C088ED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CE0DAD37-9E91-4CB5-BBFB-D7D0AE680A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1FFA1AA5-BD0A-4DA2-B673-FFA69DD82A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17" name="Espace réservé du numéro de diapositive 2">
            <a:extLst>
              <a:ext uri="{FF2B5EF4-FFF2-40B4-BE49-F238E27FC236}">
                <a16:creationId xmlns:a16="http://schemas.microsoft.com/office/drawing/2014/main" id="{FF24FD81-7B55-4044-B852-C1B3DF92DC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8" name="Espace réservé du pied de page 4">
            <a:extLst>
              <a:ext uri="{FF2B5EF4-FFF2-40B4-BE49-F238E27FC236}">
                <a16:creationId xmlns:a16="http://schemas.microsoft.com/office/drawing/2014/main" id="{B9B9ED51-C446-4AC1-B24E-06FFE95D92F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9E12D94-276B-4046-B3E1-AA0B7ECE75A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005036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9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67D8D94-1F4F-4570-BE87-CC0ACCECF1F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F236AEC-C7EC-4113-A52E-42CBE9E2CEC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35F5DA09-4EA3-477B-8AB6-2107939FF73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6FF221F3-455A-4503-86BF-647C6BFB674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3F49335F-1C58-4990-9C3F-134638C480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98936663-DB8F-4803-AE7D-C907BA7F10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24E312FF-57A8-41D2-8CEA-B8E4B94D39B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700E46C-E029-4D65-9750-72D1F0CADC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21841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Dark Blue Bg with 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1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67D8D94-1F4F-4570-BE87-CC0ACCECF1F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F236AEC-C7EC-4113-A52E-42CBE9E2CEC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35F5DA09-4EA3-477B-8AB6-2107939FF734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6FF221F3-455A-4503-86BF-647C6BFB674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3F49335F-1C58-4990-9C3F-134638C480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98936663-DB8F-4803-AE7D-C907BA7F10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24E312FF-57A8-41D2-8CEA-B8E4B94D39B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8700E46C-E029-4D65-9750-72D1F0CADC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3" name="Straight Connector 35">
            <a:extLst>
              <a:ext uri="{FF2B5EF4-FFF2-40B4-BE49-F238E27FC236}">
                <a16:creationId xmlns:a16="http://schemas.microsoft.com/office/drawing/2014/main" id="{1F374AA6-28F4-41FD-A410-764242D207E0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5001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4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7A52EDD-AB3D-46B8-9552-5D0D13D5F36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768F86D-E142-4E52-9D2E-634CC9C157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768956C-096A-4710-B05A-BFA418BB475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F0A4DBDF-9DE1-4159-B9A5-0F036DC8A42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1480B72C-9876-453C-9F2F-0AE2DB43A8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1B7C54F0-393D-414A-AB4A-9C866103590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053CAEAD-747A-422E-A5A4-8DCFAFD21E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89CF81-246C-4814-B82F-ECB801F4C8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750B9D53-EB0D-4D50-9A03-24095E62AB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8100064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Dark Blue Bg with divider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6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7A52EDD-AB3D-46B8-9552-5D0D13D5F36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768F86D-E142-4E52-9D2E-634CC9C157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768956C-096A-4710-B05A-BFA418BB475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4" name="Graphique 8">
            <a:extLst>
              <a:ext uri="{FF2B5EF4-FFF2-40B4-BE49-F238E27FC236}">
                <a16:creationId xmlns:a16="http://schemas.microsoft.com/office/drawing/2014/main" id="{F0A4DBDF-9DE1-4159-B9A5-0F036DC8A42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1480B72C-9876-453C-9F2F-0AE2DB43A8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1B7C54F0-393D-414A-AB4A-9C866103590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053CAEAD-747A-422E-A5A4-8DCFAFD21E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C789CF81-246C-4814-B82F-ECB801F4C80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3" name="Straight Connector 35">
            <a:extLst>
              <a:ext uri="{FF2B5EF4-FFF2-40B4-BE49-F238E27FC236}">
                <a16:creationId xmlns:a16="http://schemas.microsoft.com/office/drawing/2014/main" id="{38BA5899-CDBB-42D8-BFCD-64F5857EFC65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35">
            <a:extLst>
              <a:ext uri="{FF2B5EF4-FFF2-40B4-BE49-F238E27FC236}">
                <a16:creationId xmlns:a16="http://schemas.microsoft.com/office/drawing/2014/main" id="{0319CC48-B0CA-4682-86EB-D878921F8F3B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CFEB6BD6-1F6B-4CDA-A8BD-7B9947B8A3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743753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Dark Blue Bg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9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A3E362D2-078D-4128-B488-B68D1D62549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</p:spTree>
    <p:extLst>
      <p:ext uri="{BB962C8B-B14F-4D97-AF65-F5344CB8AC3E}">
        <p14:creationId xmlns:p14="http://schemas.microsoft.com/office/powerpoint/2010/main" val="1851401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Dark Blue Bg with divider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1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20B967EF-526B-42DF-870F-C27D85C3749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5A248F93-3019-4CAF-B706-E2441D4F541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</p:spTree>
    <p:extLst>
      <p:ext uri="{BB962C8B-B14F-4D97-AF65-F5344CB8AC3E}">
        <p14:creationId xmlns:p14="http://schemas.microsoft.com/office/powerpoint/2010/main" val="33295111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7D382778-4BBE-4E08-86E4-7B7315AC1A6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3" name="Titre 2">
            <a:extLst>
              <a:ext uri="{FF2B5EF4-FFF2-40B4-BE49-F238E27FC236}">
                <a16:creationId xmlns:a16="http://schemas.microsoft.com/office/drawing/2014/main" id="{BA150D9F-19CF-41D5-863B-7F91F1AB7D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2C66637-89A9-4034-A3B9-5E245861021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31F9D6FB-8DB3-4379-851A-D7F19062A2E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ADCF342B-275C-4A27-A66D-2820075198A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47377B4-5609-49EE-8F95-1C8A59DF90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343795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6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3E2F2A02-19F4-4543-A149-7BA6112B4EB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3A83716A-3280-4F1F-A538-84B68BE706C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937237CF-7891-41A0-8496-C3B641A44E5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EA13E63A-DB9A-4943-94F5-7D1662AF82E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AF25B436-5E52-4A56-8F65-3680B6E8DD4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CRE Post Testing Offer 2020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121403F2-4414-4234-BC39-C68A3C04006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5359946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1FF10C85-C858-42F2-83FC-085ECE0AD8C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63819D-3826-4C37-A6B2-F6BF2FA7C1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E3BBFF9-605D-4045-AFCA-0630CAF6290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6111433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8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3" name="Graphique 8">
            <a:extLst>
              <a:ext uri="{FF2B5EF4-FFF2-40B4-BE49-F238E27FC236}">
                <a16:creationId xmlns:a16="http://schemas.microsoft.com/office/drawing/2014/main" id="{FAB72C51-19EB-42BF-84AF-F648EA3B2BB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11135A29-83DC-4483-B5FF-BA7A26B481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7E11A5F4-9100-441C-8387-740981956A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13763D44-1A8C-41DD-9E5B-CB819BE4C5D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3B60D1F3-5624-4887-AC07-8B788D01CBD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6E829D9-0666-4D5B-9896-28C1CEC4B7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728514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Blue Bg with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1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8EBDB8A-A132-411F-B6B9-59DC085B79E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3" name="Graphique 8">
            <a:extLst>
              <a:ext uri="{FF2B5EF4-FFF2-40B4-BE49-F238E27FC236}">
                <a16:creationId xmlns:a16="http://schemas.microsoft.com/office/drawing/2014/main" id="{FAB72C51-19EB-42BF-84AF-F648EA3B2BB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11135A29-83DC-4483-B5FF-BA7A26B481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7E11A5F4-9100-441C-8387-740981956A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9" name="Espace réservé du numéro de diapositive 2">
            <a:extLst>
              <a:ext uri="{FF2B5EF4-FFF2-40B4-BE49-F238E27FC236}">
                <a16:creationId xmlns:a16="http://schemas.microsoft.com/office/drawing/2014/main" id="{13763D44-1A8C-41DD-9E5B-CB819BE4C5D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0" name="Espace réservé du pied de page 4">
            <a:extLst>
              <a:ext uri="{FF2B5EF4-FFF2-40B4-BE49-F238E27FC236}">
                <a16:creationId xmlns:a16="http://schemas.microsoft.com/office/drawing/2014/main" id="{3B60D1F3-5624-4887-AC07-8B788D01CBD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6E829D9-0666-4D5B-9896-28C1CEC4B7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5E3D423D-34E1-4BDE-8374-98A2C452EFBE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08667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3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86D5BC3-F5D3-415B-B920-B84A14BC8E3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114C476-0380-4CDD-850C-316ADAE5BF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A1D61AC-BD7C-4366-9299-08E3EFE5406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7" name="Graphique 8">
            <a:extLst>
              <a:ext uri="{FF2B5EF4-FFF2-40B4-BE49-F238E27FC236}">
                <a16:creationId xmlns:a16="http://schemas.microsoft.com/office/drawing/2014/main" id="{179657D5-47C7-4E75-BEE7-A780E55EE72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B8BDCCF6-F619-4F6E-8F2B-C4DA9F23171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0D86C3E4-5B42-4A1F-B550-10045E810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5D573DBF-7B78-4EB4-859D-55DACC88EE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BA89C3CB-68C8-4D8E-9AFC-40C4E7D1120F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AD0B33D-4376-4867-B390-6240868464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54338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Blue Bg with divider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5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86D5BC3-F5D3-415B-B920-B84A14BC8E3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114C476-0380-4CDD-850C-316ADAE5BF6C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A1D61AC-BD7C-4366-9299-08E3EFE54064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7" name="Graphique 8">
            <a:extLst>
              <a:ext uri="{FF2B5EF4-FFF2-40B4-BE49-F238E27FC236}">
                <a16:creationId xmlns:a16="http://schemas.microsoft.com/office/drawing/2014/main" id="{179657D5-47C7-4E75-BEE7-A780E55EE72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2" name="Text Placeholder 5">
            <a:extLst>
              <a:ext uri="{FF2B5EF4-FFF2-40B4-BE49-F238E27FC236}">
                <a16:creationId xmlns:a16="http://schemas.microsoft.com/office/drawing/2014/main" id="{B8BDCCF6-F619-4F6E-8F2B-C4DA9F23171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0D86C3E4-5B42-4A1F-B550-10045E8106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5D573DBF-7B78-4EB4-859D-55DACC88EEC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BA89C3CB-68C8-4D8E-9AFC-40C4E7D1120F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4AD0B33D-4376-4867-B390-62408684645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6D1337EB-DEA5-4E68-BE59-E3A0603AE2DF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F9606CDD-74E8-4C9E-BCA3-937206DAC0A3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41550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Blue Bg 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8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16872199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Blue Bg with divider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0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1700433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3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D89E5884-F1A8-4E0D-9234-BB2A7C6AA430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4F3B4695-392F-4D5E-A21D-D31873D4041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818C64AC-1412-4DDD-9F43-C2EF051921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8" name="Espace réservé du numéro de diapositive 2">
            <a:extLst>
              <a:ext uri="{FF2B5EF4-FFF2-40B4-BE49-F238E27FC236}">
                <a16:creationId xmlns:a16="http://schemas.microsoft.com/office/drawing/2014/main" id="{83E3C24A-2205-49DD-8B09-37A94D1654F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9" name="Espace réservé du pied de page 4">
            <a:extLst>
              <a:ext uri="{FF2B5EF4-FFF2-40B4-BE49-F238E27FC236}">
                <a16:creationId xmlns:a16="http://schemas.microsoft.com/office/drawing/2014/main" id="{D391BA41-15A6-4B3E-AA8F-038F30517DCA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43749402-7B23-4B7E-B9FD-7CAE1CA86F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902780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5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2513B4C4-9B08-40EC-B04E-201CA7DE434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27AFC4AA-0C36-4C10-8687-BEDF59DC2DB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B6971712-3753-4718-88F2-399AFD21BA7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3F3ECF30-253F-41F7-AE85-6ED0B962BF5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EBE9D903-93C1-4E77-A737-5DA411D2FA94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4E21DDE-C5A0-4A10-8DBA-9017D1642C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410976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5051729-BB8F-4F8B-9768-535B59EB22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A67810E-C380-4F6B-97F0-4AACF4232B4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D938CEE-A044-4227-9DE9-9D7C7481578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AE0492C6-FFE2-4A64-A953-436559870D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123DD79-4804-466E-858A-943320EFB0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2D9890A8-BA01-4982-A473-4ABF58AED3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A1BE0EC3-13A4-4B01-B222-35E0403F4ED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5E1329CB-08A8-4373-99C4-D2CCF23098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1804824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Turquoise Bg with divi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0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D5051729-BB8F-4F8B-9768-535B59EB220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A67810E-C380-4F6B-97F0-4AACF4232B4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D938CEE-A044-4227-9DE9-9D7C74815781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AE0492C6-FFE2-4A64-A953-436559870D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123DD79-4804-466E-858A-943320EFB0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2D9890A8-BA01-4982-A473-4ABF58AED3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A1BE0EC3-13A4-4B01-B222-35E0403F4ED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5E1329CB-08A8-4373-99C4-D2CCF23098E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CCC03A1B-8149-4249-BC87-D1342F48BC4A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06486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2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63819D-3826-4C37-A6B2-F6BF2FA7C1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E3BBFF9-605D-4045-AFCA-0630CAF6290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045952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2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6FF21A3-5C44-47ED-B6D7-AE6CB6A1102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5D31501-DC21-4740-ACF3-F1316E59819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9E9C974-F8D0-482E-9985-E67DFC62129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84A8F74-C187-471B-BECD-90117FE9539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0A73578C-E463-4003-8A18-1D881A90DD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96221AE0-5837-481C-BC68-0F09E348A5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473C7761-AA9D-4D80-922D-D9468B5F3B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A199F665-569C-4DB3-8791-44F0F59D740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93F987A-170C-4E76-A7D8-DC706875F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3839737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Turquoise Bg with divider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5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E6FF21A3-5C44-47ED-B6D7-AE6CB6A1102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75D31501-DC21-4740-ACF3-F1316E59819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C9E9C974-F8D0-482E-9985-E67DFC62129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F84A8F74-C187-471B-BECD-90117FE9539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0A73578C-E463-4003-8A18-1D881A90DDF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96221AE0-5837-481C-BC68-0F09E348A5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3" name="Espace réservé du numéro de diapositive 2">
            <a:extLst>
              <a:ext uri="{FF2B5EF4-FFF2-40B4-BE49-F238E27FC236}">
                <a16:creationId xmlns:a16="http://schemas.microsoft.com/office/drawing/2014/main" id="{473C7761-AA9D-4D80-922D-D9468B5F3BAA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Espace réservé du pied de page 4">
            <a:extLst>
              <a:ext uri="{FF2B5EF4-FFF2-40B4-BE49-F238E27FC236}">
                <a16:creationId xmlns:a16="http://schemas.microsoft.com/office/drawing/2014/main" id="{A199F665-569C-4DB3-8791-44F0F59D740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A93F987A-170C-4E76-A7D8-DC706875F85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FAF1B7B1-87E0-46A4-AA07-C1063E54C3AD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18811E3C-6550-477D-B750-990B471D9E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2514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 columns_Green Bg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7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373054" y="1997656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B581EAD-818C-45A4-80FE-963E44E24C9E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404786" y="2001973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9561D6C5-C10B-443C-B2FA-9D56B1984C79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3388920" y="1997656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D014CE33-0AF2-4D70-9BF6-B1EE278ACE92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9357188" y="1997656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8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638121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9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437C81F6-288B-4CD6-8434-31E05629586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D7927E3E-1782-4A07-BD59-371C4D8227B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934B8D39-A21D-4C23-9BB3-0812B9F088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F763B716-FDA1-4D3C-824D-1B00864184A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9679F60-0A60-49CD-A33B-A0143C31A6D1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1CD4711-4D41-4B4B-B260-0ED56BC2605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6019426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2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668B2CFD-22F1-4431-AF94-F5F28A5873D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36BACE50-F370-4AF7-A623-EFA8E8D0FB5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4160477B-743B-492A-BC15-89FE6D09C2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6" name="Espace réservé du numéro de diapositive 2">
            <a:extLst>
              <a:ext uri="{FF2B5EF4-FFF2-40B4-BE49-F238E27FC236}">
                <a16:creationId xmlns:a16="http://schemas.microsoft.com/office/drawing/2014/main" id="{77A23A92-4733-4D64-9578-199845FA400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2143B5D6-D335-415F-ABD0-9712884C01B1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4DA76F43-5248-440F-A481-AE3424C906A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5751088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4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C0E9943-F655-4D87-8A71-C5CD7B1F33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6438B2F-8ED1-4D14-A1C7-E9F68322689E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ACDC552B-8CDA-48CA-A8A8-811FCC54FFE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C8F73D43-A7D3-4516-ABE8-FE463CC621C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63ED53C-324B-4E02-A190-3A1DB4E58E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15860257-6371-40C0-A1CD-7F88E895871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C64E4412-2519-4051-AC29-ED56CF367D6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894B4D6-48C5-485B-A19E-2E2EFB7416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8853401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columns_Violet Bg with divider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7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C0E9943-F655-4D87-8A71-C5CD7B1F330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66438B2F-8ED1-4D14-A1C7-E9F68322689E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6022" y="1808820"/>
            <a:ext cx="551119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ACDC552B-8CDA-48CA-A8A8-811FCC54FFE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C8F73D43-A7D3-4516-ABE8-FE463CC621C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63ED53C-324B-4E02-A190-3A1DB4E58E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15860257-6371-40C0-A1CD-7F88E895871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Espace réservé du pied de page 4">
            <a:extLst>
              <a:ext uri="{FF2B5EF4-FFF2-40B4-BE49-F238E27FC236}">
                <a16:creationId xmlns:a16="http://schemas.microsoft.com/office/drawing/2014/main" id="{C64E4412-2519-4051-AC29-ED56CF367D63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894B4D6-48C5-485B-A19E-2E2EFB7416D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23DB9D5B-DC75-428B-A756-12D2B3B16114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3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60268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Violet Bg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9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B84738E-FC65-4057-B3F9-EDDD50E90A8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87E670E-DB4B-44E8-8FE3-D62DABA7F3D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614C37-0687-453B-98AC-92943109E11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63FE658E-9ADA-4627-B4E3-4DE0E374FD5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08D919A-4DF1-46CD-A2AE-41E585FD8A4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511B61A5-D4C6-4685-8C16-DCFA216B9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F2B16B7C-A9B4-4FD7-826E-9D73B19E65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B0C6C810-3AC8-4CF2-81C8-1D7058CBD4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BDDDA5B-7CD0-43A3-9A8B-D5946ECB06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3641699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s_Violet Bg with divider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2B84738E-FC65-4057-B3F9-EDDD50E90A8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787E670E-DB4B-44E8-8FE3-D62DABA7F3D8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279090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9614C37-0687-453B-98AC-92943109E118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53368" y="1808820"/>
            <a:ext cx="3633820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sz="16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pic>
        <p:nvPicPr>
          <p:cNvPr id="18" name="Graphique 8">
            <a:extLst>
              <a:ext uri="{FF2B5EF4-FFF2-40B4-BE49-F238E27FC236}">
                <a16:creationId xmlns:a16="http://schemas.microsoft.com/office/drawing/2014/main" id="{63FE658E-9ADA-4627-B4E3-4DE0E374FD53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F08D919A-4DF1-46CD-A2AE-41E585FD8A4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511B61A5-D4C6-4685-8C16-DCFA216B92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2" name="Espace réservé du numéro de diapositive 2">
            <a:extLst>
              <a:ext uri="{FF2B5EF4-FFF2-40B4-BE49-F238E27FC236}">
                <a16:creationId xmlns:a16="http://schemas.microsoft.com/office/drawing/2014/main" id="{F2B16B7C-A9B4-4FD7-826E-9D73B19E65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B0C6C810-3AC8-4CF2-81C8-1D7058CBD48D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BDDDA5B-7CD0-43A3-9A8B-D5946ECB060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7" name="Straight Connector 35">
            <a:extLst>
              <a:ext uri="{FF2B5EF4-FFF2-40B4-BE49-F238E27FC236}">
                <a16:creationId xmlns:a16="http://schemas.microsoft.com/office/drawing/2014/main" id="{983523C1-7153-4692-B90B-65F30FC43340}"/>
              </a:ext>
            </a:extLst>
          </p:cNvPr>
          <p:cNvCxnSpPr>
            <a:cxnSpLocks/>
          </p:cNvCxnSpPr>
          <p:nvPr userDrawn="1"/>
        </p:nvCxnSpPr>
        <p:spPr>
          <a:xfrm flipV="1">
            <a:off x="4158848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68E2FD7F-148A-4626-93A8-57B0F05B1379}"/>
              </a:ext>
            </a:extLst>
          </p:cNvPr>
          <p:cNvCxnSpPr>
            <a:cxnSpLocks/>
          </p:cNvCxnSpPr>
          <p:nvPr userDrawn="1"/>
        </p:nvCxnSpPr>
        <p:spPr>
          <a:xfrm flipV="1">
            <a:off x="803313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42491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5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Violet Bg 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4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2E8BB07-B67E-46A3-983C-459CF2A9231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904DA21D-F627-4FE5-9AB1-E7433AA0327D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98957F28-66B5-4ECC-AA41-7CCADEDEAC7F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3F65E827-F95D-4C8F-84F2-47397F0206A3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ECC98CB-42ED-4358-8632-DB1E5894A4A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4B2C0F4A-6984-48C5-B4CD-E7BBF23E1018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A5504A1B-576C-4AEF-94C6-8ABC9093DC51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223879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76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67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06C9BA4-2C1A-4C1C-ABBD-87F774202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4"/>
            <a:ext cx="2498984" cy="24989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4"/>
            <a:ext cx="2498984" cy="24989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4"/>
            <a:ext cx="2498984" cy="24989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3"/>
            <a:ext cx="3121480" cy="640175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3"/>
            <a:ext cx="3121480" cy="640175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3"/>
            <a:ext cx="3121480" cy="640175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9F68698D-F3B0-4788-AF4C-465233CDAD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C6A7D93F-558B-468A-BD97-4A324D31E45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D836BAF7-4960-44BE-976B-FA96BE235CD4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0FD6EC61-BEBC-4E54-BC44-9C1775E7065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0990687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26B43"/>
          </p15:clr>
        </p15:guide>
        <p15:guide id="2" orient="horz" pos="613">
          <p15:clr>
            <a:srgbClr val="F26B43"/>
          </p15:clr>
        </p15:guide>
        <p15:guide id="3" pos="247">
          <p15:clr>
            <a:srgbClr val="F26B43"/>
          </p15:clr>
        </p15:guide>
        <p15:guide id="4" pos="7424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_Violet Bg with dividers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6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A638648C-B61D-4507-9478-07B4702DA5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6" name="Titre 5">
            <a:extLst>
              <a:ext uri="{FF2B5EF4-FFF2-40B4-BE49-F238E27FC236}">
                <a16:creationId xmlns:a16="http://schemas.microsoft.com/office/drawing/2014/main" id="{826B9503-2AC4-450D-A0D4-5019A3085B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4786" y="382816"/>
            <a:ext cx="11382428" cy="4801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5BACBC25-5487-4894-AB69-DC61AF350FEE}"/>
              </a:ext>
            </a:extLst>
          </p:cNvPr>
          <p:cNvCxnSpPr>
            <a:cxnSpLocks/>
          </p:cNvCxnSpPr>
          <p:nvPr userDrawn="1"/>
        </p:nvCxnSpPr>
        <p:spPr>
          <a:xfrm flipV="1">
            <a:off x="3190903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35">
            <a:extLst>
              <a:ext uri="{FF2B5EF4-FFF2-40B4-BE49-F238E27FC236}">
                <a16:creationId xmlns:a16="http://schemas.microsoft.com/office/drawing/2014/main" id="{F1570288-B026-49B2-AE34-8E27B6EB2D8D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8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35">
            <a:extLst>
              <a:ext uri="{FF2B5EF4-FFF2-40B4-BE49-F238E27FC236}">
                <a16:creationId xmlns:a16="http://schemas.microsoft.com/office/drawing/2014/main" id="{FDF868AB-0A81-40C5-9695-1BD120946D0A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106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bg1">
                    <a:alpha val="0"/>
                  </a:schemeClr>
                </a:gs>
                <a:gs pos="55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B87A726-5D45-49B7-B6E4-02D113462CA8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4785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48469EBA-FCE4-409D-99AD-B18807B78960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3309877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E5B593F1-F213-4F09-9902-DFB955D2770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6214969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CE1EB90-82E9-4FC8-B6D3-007BF2FBE50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9120060" y="1808820"/>
            <a:ext cx="2667154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bg1"/>
                </a:solidFill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  <a:defRPr lang="en-GB" sz="16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7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8D0EA6A7-13A6-4F7C-BD66-1B36B778A72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7" name="Espace réservé du pied de page 4">
            <a:extLst>
              <a:ext uri="{FF2B5EF4-FFF2-40B4-BE49-F238E27FC236}">
                <a16:creationId xmlns:a16="http://schemas.microsoft.com/office/drawing/2014/main" id="{41A1F7B3-78F2-4338-8319-8B897FA823B9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ED3453C5-5187-47ED-80EA-CF36689212CA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</p:spTree>
    <p:extLst>
      <p:ext uri="{BB962C8B-B14F-4D97-AF65-F5344CB8AC3E}">
        <p14:creationId xmlns:p14="http://schemas.microsoft.com/office/powerpoint/2010/main" val="10926701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9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1FF10C85-C858-42F2-83FC-085ECE0AD8C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8A63819D-3826-4C37-A6B2-F6BF2FA7C1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E3BBFF9-605D-4045-AFCA-0630CAF6290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807689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FA17D264-6969-4214-AE06-EF30C4A526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407172" y="2785487"/>
            <a:ext cx="2378847" cy="1477328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5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15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6B1772CC-CE52-4E78-B63F-76A973F91E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72A123BC-64B8-4F7B-855D-41D9EB63A6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7805786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3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6B1772CC-CE52-4E78-B63F-76A973F91E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DAB39EE-A592-42CC-A3A7-B1D1A851EA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1A62086C-76E4-4718-9B87-7C2FB483077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1F85B39E-ADE6-4814-B538-973092E927F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8" name="Espace réservé du texte 4">
            <a:extLst>
              <a:ext uri="{FF2B5EF4-FFF2-40B4-BE49-F238E27FC236}">
                <a16:creationId xmlns:a16="http://schemas.microsoft.com/office/drawing/2014/main" id="{9CE6EC93-06F2-4F91-965C-189C479505A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F78CE628-C138-44AB-BF90-4CD6DCBF6C9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0" name="Espace réservé du texte 15">
            <a:extLst>
              <a:ext uri="{FF2B5EF4-FFF2-40B4-BE49-F238E27FC236}">
                <a16:creationId xmlns:a16="http://schemas.microsoft.com/office/drawing/2014/main" id="{6683BE0B-F7A1-470B-9F10-E4277EE351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2" name="Espace réservé du texte 15">
            <a:extLst>
              <a:ext uri="{FF2B5EF4-FFF2-40B4-BE49-F238E27FC236}">
                <a16:creationId xmlns:a16="http://schemas.microsoft.com/office/drawing/2014/main" id="{4171E4E7-27E3-4CAE-8117-8B0985E3269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3" name="Espace réservé du texte 4">
            <a:extLst>
              <a:ext uri="{FF2B5EF4-FFF2-40B4-BE49-F238E27FC236}">
                <a16:creationId xmlns:a16="http://schemas.microsoft.com/office/drawing/2014/main" id="{CF196C90-BFA5-4EB1-809E-257C96ED6B2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34" name="Espace réservé du texte 15">
            <a:extLst>
              <a:ext uri="{FF2B5EF4-FFF2-40B4-BE49-F238E27FC236}">
                <a16:creationId xmlns:a16="http://schemas.microsoft.com/office/drawing/2014/main" id="{BA8D7796-2153-4B06-BE09-A751E28741D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45164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6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6B1772CC-CE52-4E78-B63F-76A973F91E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72A123BC-64B8-4F7B-855D-41D9EB63A6F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FFF7EE1B-7DB4-488B-B26D-A38B11675A8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3" name="Espace réservé du texte 4">
            <a:extLst>
              <a:ext uri="{FF2B5EF4-FFF2-40B4-BE49-F238E27FC236}">
                <a16:creationId xmlns:a16="http://schemas.microsoft.com/office/drawing/2014/main" id="{96518655-1BBA-4FB9-A1A1-87676ECAF40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8634DFA4-CD88-4C57-A92C-47493D245D0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09285BF7-E824-44DC-8939-2EEDF8EAB5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15">
            <a:extLst>
              <a:ext uri="{FF2B5EF4-FFF2-40B4-BE49-F238E27FC236}">
                <a16:creationId xmlns:a16="http://schemas.microsoft.com/office/drawing/2014/main" id="{7EA390A2-E2D4-4D20-BDB9-C874325BA37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7" name="Espace réservé du texte 15">
            <a:extLst>
              <a:ext uri="{FF2B5EF4-FFF2-40B4-BE49-F238E27FC236}">
                <a16:creationId xmlns:a16="http://schemas.microsoft.com/office/drawing/2014/main" id="{1564D801-B0E6-43C3-8B94-0E89FD96100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8" name="Espace réservé du texte 15">
            <a:extLst>
              <a:ext uri="{FF2B5EF4-FFF2-40B4-BE49-F238E27FC236}">
                <a16:creationId xmlns:a16="http://schemas.microsoft.com/office/drawing/2014/main" id="{461F3D26-7698-4382-817D-06AE9A8CDF0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77328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B611E923-D3EE-49B7-A936-85891DEAA76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id="{F37A373E-B0C6-4A3A-88BD-3C093DFFB918}"/>
              </a:ext>
            </a:extLst>
          </p:cNvPr>
          <p:cNvCxnSpPr>
            <a:cxnSpLocks/>
          </p:cNvCxnSpPr>
          <p:nvPr userDrawn="1"/>
        </p:nvCxnSpPr>
        <p:spPr>
          <a:xfrm flipV="1">
            <a:off x="309480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5">
            <a:extLst>
              <a:ext uri="{FF2B5EF4-FFF2-40B4-BE49-F238E27FC236}">
                <a16:creationId xmlns:a16="http://schemas.microsoft.com/office/drawing/2014/main" id="{0BDAA492-5340-46F7-A09D-5F68BE925AB6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9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5">
            <a:extLst>
              <a:ext uri="{FF2B5EF4-FFF2-40B4-BE49-F238E27FC236}">
                <a16:creationId xmlns:a16="http://schemas.microsoft.com/office/drawing/2014/main" id="{8EDA2254-B51E-42A4-9F98-3E60FD4D7E0B}"/>
              </a:ext>
            </a:extLst>
          </p:cNvPr>
          <p:cNvCxnSpPr>
            <a:cxnSpLocks/>
          </p:cNvCxnSpPr>
          <p:nvPr userDrawn="1"/>
        </p:nvCxnSpPr>
        <p:spPr>
          <a:xfrm flipV="1">
            <a:off x="909719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37231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8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6B1772CC-CE52-4E78-B63F-76A973F91E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DAB39EE-A592-42CC-A3A7-B1D1A851EA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22" name="Espace réservé du texte 4">
            <a:extLst>
              <a:ext uri="{FF2B5EF4-FFF2-40B4-BE49-F238E27FC236}">
                <a16:creationId xmlns:a16="http://schemas.microsoft.com/office/drawing/2014/main" id="{5FBBBE71-038F-47FD-AA2F-DDF7087FA88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04786" y="1993900"/>
            <a:ext cx="2378846" cy="341632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3" name="Espace réservé du texte 4">
            <a:extLst>
              <a:ext uri="{FF2B5EF4-FFF2-40B4-BE49-F238E27FC236}">
                <a16:creationId xmlns:a16="http://schemas.microsoft.com/office/drawing/2014/main" id="{019C832B-ADC5-4655-A9BB-B9E27C49AAA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5979" y="1993900"/>
            <a:ext cx="2378846" cy="341632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4" name="Espace réservé du texte 4">
            <a:extLst>
              <a:ext uri="{FF2B5EF4-FFF2-40B4-BE49-F238E27FC236}">
                <a16:creationId xmlns:a16="http://schemas.microsoft.com/office/drawing/2014/main" id="{33B8FF24-5350-4358-8A61-01E632CBA03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407173" y="1993900"/>
            <a:ext cx="2378846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F6A611CF-4A0C-414F-97D1-05D2E00D9491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408368" y="1993900"/>
            <a:ext cx="2378846" cy="341632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15">
            <a:extLst>
              <a:ext uri="{FF2B5EF4-FFF2-40B4-BE49-F238E27FC236}">
                <a16:creationId xmlns:a16="http://schemas.microsoft.com/office/drawing/2014/main" id="{14D079C5-56C5-4829-9279-B9D159053C0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7" name="Espace réservé du texte 15">
            <a:extLst>
              <a:ext uri="{FF2B5EF4-FFF2-40B4-BE49-F238E27FC236}">
                <a16:creationId xmlns:a16="http://schemas.microsoft.com/office/drawing/2014/main" id="{A8B2B706-3906-4253-B6DB-A7C2AFD16B1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5979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8" name="Espace réservé du texte 15">
            <a:extLst>
              <a:ext uri="{FF2B5EF4-FFF2-40B4-BE49-F238E27FC236}">
                <a16:creationId xmlns:a16="http://schemas.microsoft.com/office/drawing/2014/main" id="{829361D3-585B-4494-AC11-E01E8991D2B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07172" y="2785487"/>
            <a:ext cx="2378847" cy="1446550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</a:t>
            </a:r>
            <a:br>
              <a:rPr lang="en-GB"/>
            </a:br>
            <a:r>
              <a:rPr lang="en-GB"/>
              <a:t>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10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9" name="Espace réservé du texte 15">
            <a:extLst>
              <a:ext uri="{FF2B5EF4-FFF2-40B4-BE49-F238E27FC236}">
                <a16:creationId xmlns:a16="http://schemas.microsoft.com/office/drawing/2014/main" id="{432D91E9-DE40-4B4D-9E1B-9DBA866F339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08367" y="278548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1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30" name="Straight Connector 35">
            <a:extLst>
              <a:ext uri="{FF2B5EF4-FFF2-40B4-BE49-F238E27FC236}">
                <a16:creationId xmlns:a16="http://schemas.microsoft.com/office/drawing/2014/main" id="{4D161E9A-7872-4440-9E61-28B41BBA4C74}"/>
              </a:ext>
            </a:extLst>
          </p:cNvPr>
          <p:cNvCxnSpPr>
            <a:cxnSpLocks/>
          </p:cNvCxnSpPr>
          <p:nvPr userDrawn="1"/>
        </p:nvCxnSpPr>
        <p:spPr>
          <a:xfrm flipV="1">
            <a:off x="3094806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5">
            <a:extLst>
              <a:ext uri="{FF2B5EF4-FFF2-40B4-BE49-F238E27FC236}">
                <a16:creationId xmlns:a16="http://schemas.microsoft.com/office/drawing/2014/main" id="{CBF43B31-2F37-4F9B-ABAB-B30C401656C8}"/>
              </a:ext>
            </a:extLst>
          </p:cNvPr>
          <p:cNvCxnSpPr>
            <a:cxnSpLocks/>
          </p:cNvCxnSpPr>
          <p:nvPr userDrawn="1"/>
        </p:nvCxnSpPr>
        <p:spPr>
          <a:xfrm flipV="1">
            <a:off x="6095999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5">
            <a:extLst>
              <a:ext uri="{FF2B5EF4-FFF2-40B4-BE49-F238E27FC236}">
                <a16:creationId xmlns:a16="http://schemas.microsoft.com/office/drawing/2014/main" id="{29B91B6C-BAB5-4232-87EA-0EA2E4093CD3}"/>
              </a:ext>
            </a:extLst>
          </p:cNvPr>
          <p:cNvCxnSpPr>
            <a:cxnSpLocks/>
          </p:cNvCxnSpPr>
          <p:nvPr userDrawn="1"/>
        </p:nvCxnSpPr>
        <p:spPr>
          <a:xfrm flipV="1">
            <a:off x="909719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2638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1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3D36ADE6-0DA4-44E3-B987-5881099F82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E3F45E-E84E-4C33-9A96-378F378EB3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4311520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3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3D36ADE6-0DA4-44E3-B987-5881099F82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4B90A9-86C7-4CA7-AC86-9B7C03D231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515C157A-6F74-44A8-9785-4A8F9335C02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A3F60031-8B36-438E-A717-35784DD2D5A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2942971D-C98D-4428-A689-9423825AAD8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9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A6334CC9-1D70-4436-83AA-B17CBD59311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20EA07A4-D40F-47BA-8114-083CB3AD11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B648F2B2-21C5-4074-BA28-735D9BA0209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9654983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3D36ADE6-0DA4-44E3-B987-5881099F82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2E3F45E-E84E-4C33-9A96-378F378EB3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8AD0E370-DCF9-49CD-9EA7-8B8AC362457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CEAFF2D8-1A9C-44B0-9198-6142941FCDB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E3D7F208-6D50-442A-A3BA-61611E5E86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E8F2F6B4-2140-44C5-A120-32F8342665F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1CF7206F-481C-4380-B8D3-416C8CFAAA3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A48E232D-A901-4275-8D27-BF6BBBAB33F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cxnSp>
        <p:nvCxnSpPr>
          <p:cNvPr id="28" name="Straight Connector 35">
            <a:extLst>
              <a:ext uri="{FF2B5EF4-FFF2-40B4-BE49-F238E27FC236}">
                <a16:creationId xmlns:a16="http://schemas.microsoft.com/office/drawing/2014/main" id="{24D521F1-2193-411F-B113-AC0566A258B2}"/>
              </a:ext>
            </a:extLst>
          </p:cNvPr>
          <p:cNvCxnSpPr>
            <a:cxnSpLocks/>
          </p:cNvCxnSpPr>
          <p:nvPr userDrawn="1"/>
        </p:nvCxnSpPr>
        <p:spPr>
          <a:xfrm flipV="1">
            <a:off x="404291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5">
            <a:extLst>
              <a:ext uri="{FF2B5EF4-FFF2-40B4-BE49-F238E27FC236}">
                <a16:creationId xmlns:a16="http://schemas.microsoft.com/office/drawing/2014/main" id="{39E588EC-DE9F-4E69-916F-F600E764120E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138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6053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8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3D36ADE6-0DA4-44E3-B987-5881099F82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74B90A9-86C7-4CA7-AC86-9B7C03D2311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:a16="http://schemas.microsoft.com/office/drawing/2014/main" id="{B3E82CFB-97D6-45D7-BADA-9AB9D04832F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96180" y="278548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2" name="Espace réservé du texte 15">
            <a:extLst>
              <a:ext uri="{FF2B5EF4-FFF2-40B4-BE49-F238E27FC236}">
                <a16:creationId xmlns:a16="http://schemas.microsoft.com/office/drawing/2014/main" id="{BFDAFBE7-77A0-416D-9494-5416435885C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94645" y="278548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3" name="Espace réservé du texte 15">
            <a:extLst>
              <a:ext uri="{FF2B5EF4-FFF2-40B4-BE49-F238E27FC236}">
                <a16:creationId xmlns:a16="http://schemas.microsoft.com/office/drawing/2014/main" id="{44582077-3607-4624-94EF-42536719D7F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593109" y="278548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9"/>
              </a:buBlip>
              <a:defRPr lang="en-GB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marL="447675" lvl="1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9"/>
              </a:buBlip>
            </a:pPr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5" name="Espace réservé du texte 4">
            <a:extLst>
              <a:ext uri="{FF2B5EF4-FFF2-40B4-BE49-F238E27FC236}">
                <a16:creationId xmlns:a16="http://schemas.microsoft.com/office/drawing/2014/main" id="{D0D64E5F-2B42-446B-9608-5610CA2AC36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96548" y="1993899"/>
            <a:ext cx="3195009" cy="341633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bg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6" name="Espace réservé du texte 4">
            <a:extLst>
              <a:ext uri="{FF2B5EF4-FFF2-40B4-BE49-F238E27FC236}">
                <a16:creationId xmlns:a16="http://schemas.microsoft.com/office/drawing/2014/main" id="{4FDFF29E-822C-437E-B6C9-C13E38631E2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94829" y="1993899"/>
            <a:ext cx="3195009" cy="341633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7" name="Espace réservé du texte 4">
            <a:extLst>
              <a:ext uri="{FF2B5EF4-FFF2-40B4-BE49-F238E27FC236}">
                <a16:creationId xmlns:a16="http://schemas.microsoft.com/office/drawing/2014/main" id="{99E1DAEB-5F78-44FD-A2AD-EF997D472DA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593109" y="1993899"/>
            <a:ext cx="3195009" cy="338554"/>
          </a:xfrm>
          <a:noFill/>
        </p:spPr>
        <p:txBody>
          <a:bodyPr lIns="72000" rIns="0" anchor="t">
            <a:spAutoFit/>
          </a:bodyPr>
          <a:lstStyle>
            <a:lvl1pPr marL="0" indent="0" algn="l">
              <a:buNone/>
              <a:defRPr b="1" cap="all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cxnSp>
        <p:nvCxnSpPr>
          <p:cNvPr id="28" name="Straight Connector 35">
            <a:extLst>
              <a:ext uri="{FF2B5EF4-FFF2-40B4-BE49-F238E27FC236}">
                <a16:creationId xmlns:a16="http://schemas.microsoft.com/office/drawing/2014/main" id="{2C504288-9A20-4118-B47D-A6EBD7BD1D88}"/>
              </a:ext>
            </a:extLst>
          </p:cNvPr>
          <p:cNvCxnSpPr>
            <a:cxnSpLocks/>
          </p:cNvCxnSpPr>
          <p:nvPr userDrawn="1"/>
        </p:nvCxnSpPr>
        <p:spPr>
          <a:xfrm flipV="1">
            <a:off x="4042917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35">
            <a:extLst>
              <a:ext uri="{FF2B5EF4-FFF2-40B4-BE49-F238E27FC236}">
                <a16:creationId xmlns:a16="http://schemas.microsoft.com/office/drawing/2014/main" id="{EC5596AD-B23F-45D5-9FA4-416451B248FA}"/>
              </a:ext>
            </a:extLst>
          </p:cNvPr>
          <p:cNvCxnSpPr>
            <a:cxnSpLocks/>
          </p:cNvCxnSpPr>
          <p:nvPr userDrawn="1"/>
        </p:nvCxnSpPr>
        <p:spPr>
          <a:xfrm flipV="1">
            <a:off x="8141382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03756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A7272C5A-A11F-4DD3-BF54-F64C82B84D6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A59EA477-4D96-4C94-A268-87C2D94F085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822219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box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80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6256" y="1993900"/>
            <a:ext cx="2378846" cy="369332"/>
          </a:xfr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1232" y="1993900"/>
            <a:ext cx="2378846" cy="369332"/>
          </a:xfr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6208" y="1993900"/>
            <a:ext cx="2378846" cy="369332"/>
          </a:xfrm>
          <a:solidFill>
            <a:schemeClr val="accent4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83" y="1993900"/>
            <a:ext cx="2378846" cy="369332"/>
          </a:xfrm>
          <a:solidFill>
            <a:schemeClr val="accent1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887" y="263411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0985" y="263411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16083" y="263411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31182" y="263411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6B1772CC-CE52-4E78-B63F-76A973F91E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3340DE3B-4ADD-48BE-BCE6-7FE7A77863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5803231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with colored box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3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F29F32CF-ADE9-4D3D-9458-4DBEF9BE01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86256" y="1993900"/>
            <a:ext cx="2378846" cy="369332"/>
          </a:xfr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8F949CB4-ADF1-411D-B5B0-474DDF2975F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01232" y="1993900"/>
            <a:ext cx="2378846" cy="369332"/>
          </a:xfr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4" name="Espace réservé du texte 4">
            <a:extLst>
              <a:ext uri="{FF2B5EF4-FFF2-40B4-BE49-F238E27FC236}">
                <a16:creationId xmlns:a16="http://schemas.microsoft.com/office/drawing/2014/main" id="{F575F9CB-6641-4AA5-BBBF-DCB5E35A79B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316208" y="1993900"/>
            <a:ext cx="2378846" cy="369332"/>
          </a:xfrm>
          <a:solidFill>
            <a:schemeClr val="accent3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5" name="Espace réservé du texte 4">
            <a:extLst>
              <a:ext uri="{FF2B5EF4-FFF2-40B4-BE49-F238E27FC236}">
                <a16:creationId xmlns:a16="http://schemas.microsoft.com/office/drawing/2014/main" id="{673ECD5B-058F-460C-B800-3658FC97D20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231183" y="1993900"/>
            <a:ext cx="2378846" cy="369332"/>
          </a:xfrm>
          <a:solidFill>
            <a:schemeClr val="accent1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887" y="263411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400985" y="263411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316083" y="263411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Espace réservé du texte 15">
            <a:extLst>
              <a:ext uri="{FF2B5EF4-FFF2-40B4-BE49-F238E27FC236}">
                <a16:creationId xmlns:a16="http://schemas.microsoft.com/office/drawing/2014/main" id="{BB3AB300-BC70-4E89-90E0-8D61F56FBB2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31182" y="2634117"/>
            <a:ext cx="2378847" cy="1477328"/>
          </a:xfrm>
        </p:spPr>
        <p:txBody>
          <a:bodyPr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10"/>
              </a:buBlip>
              <a:defRPr sz="1600"/>
            </a:lvl2pPr>
            <a:lvl3pPr>
              <a:defRPr sz="1400"/>
            </a:lvl3pPr>
            <a:lvl4pPr marL="758825" indent="0">
              <a:buNone/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6B1772CC-CE52-4E78-B63F-76A973F91E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0DC641C9-B54A-4E65-BAB2-93108534F4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ED3FC135-82C8-4A96-888D-AB8CE896130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1673265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box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5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775" y="263411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50146" y="263411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7062" y="263411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6143" y="1993899"/>
            <a:ext cx="3195009" cy="369332"/>
          </a:xfr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50330" y="1993899"/>
            <a:ext cx="3195009" cy="369332"/>
          </a:xfr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17062" y="1993899"/>
            <a:ext cx="3195009" cy="369332"/>
          </a:xfrm>
          <a:solidFill>
            <a:schemeClr val="accent4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3D36ADE6-0DA4-44E3-B987-5881099F82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DF5ACA36-D848-4F29-92F9-47321029F3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8331789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colored box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7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2D19A821-9323-436D-9BBA-EF55905E304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85775" y="263411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7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7" name="Espace réservé du texte 15">
            <a:extLst>
              <a:ext uri="{FF2B5EF4-FFF2-40B4-BE49-F238E27FC236}">
                <a16:creationId xmlns:a16="http://schemas.microsoft.com/office/drawing/2014/main" id="{8F509378-7F96-4CC3-B445-AFDF4E8F71B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450146" y="263411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8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8" name="Espace réservé du texte 15">
            <a:extLst>
              <a:ext uri="{FF2B5EF4-FFF2-40B4-BE49-F238E27FC236}">
                <a16:creationId xmlns:a16="http://schemas.microsoft.com/office/drawing/2014/main" id="{FE25E091-C850-4A35-8C6B-48D1A63C1D4F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7062" y="2634117"/>
            <a:ext cx="3195010" cy="1231106"/>
          </a:xfrm>
        </p:spPr>
        <p:txBody>
          <a:bodyPr wrap="square" lIns="0" rIns="0">
            <a:spAutoFit/>
          </a:bodyPr>
          <a:lstStyle>
            <a:lvl1pPr>
              <a:defRPr sz="1600"/>
            </a:lvl1pPr>
            <a:lvl2pPr marL="447675" indent="-314325">
              <a:buFontTx/>
              <a:buBlip>
                <a:blip r:embed="rId9"/>
              </a:buBlip>
              <a:defRPr sz="1600"/>
            </a:lvl2pPr>
            <a:lvl3pPr>
              <a:defRPr sz="14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9" name="Espace réservé du texte 4">
            <a:extLst>
              <a:ext uri="{FF2B5EF4-FFF2-40B4-BE49-F238E27FC236}">
                <a16:creationId xmlns:a16="http://schemas.microsoft.com/office/drawing/2014/main" id="{8F53EFDF-586B-4B52-A77B-E7663334D33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6143" y="1993899"/>
            <a:ext cx="3195009" cy="369332"/>
          </a:xfrm>
          <a:solidFill>
            <a:schemeClr val="bg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0" name="Espace réservé du texte 4">
            <a:extLst>
              <a:ext uri="{FF2B5EF4-FFF2-40B4-BE49-F238E27FC236}">
                <a16:creationId xmlns:a16="http://schemas.microsoft.com/office/drawing/2014/main" id="{C9BF9C92-4CA0-4CDA-A4F8-082D2B2EF99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450330" y="1993899"/>
            <a:ext cx="3195009" cy="369332"/>
          </a:xfrm>
          <a:solidFill>
            <a:schemeClr val="tx2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1" name="Espace réservé du texte 4">
            <a:extLst>
              <a:ext uri="{FF2B5EF4-FFF2-40B4-BE49-F238E27FC236}">
                <a16:creationId xmlns:a16="http://schemas.microsoft.com/office/drawing/2014/main" id="{681CE642-3E81-4565-8966-09C10814A63E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417062" y="1993899"/>
            <a:ext cx="3195009" cy="369332"/>
          </a:xfrm>
          <a:solidFill>
            <a:schemeClr val="accent3"/>
          </a:solidFill>
        </p:spPr>
        <p:txBody>
          <a:bodyPr lIns="0" rIns="0" anchor="t">
            <a:spAutoFit/>
          </a:bodyPr>
          <a:lstStyle>
            <a:lvl1pPr marL="0" indent="0" algn="ctr">
              <a:buNone/>
              <a:defRPr b="1" cap="all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Title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3D36ADE6-0DA4-44E3-B987-5881099F82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86C96D8-5D31-4787-ADE2-CBD1DEDCC0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C8E6DE7D-0FB2-4B25-A7F7-95C4D06B932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4883728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90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67DF1024-681A-4B64-B209-B8AE20F4C7A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20156DF7-56BC-40D5-8DA8-2F22C6D867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4" name="Espace réservé du numéro de diapositive 2">
            <a:extLst>
              <a:ext uri="{FF2B5EF4-FFF2-40B4-BE49-F238E27FC236}">
                <a16:creationId xmlns:a16="http://schemas.microsoft.com/office/drawing/2014/main" id="{050AD626-E7A4-427F-9A3F-B6A6BA21F6B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5" name="Espace réservé du pied de page 4">
            <a:extLst>
              <a:ext uri="{FF2B5EF4-FFF2-40B4-BE49-F238E27FC236}">
                <a16:creationId xmlns:a16="http://schemas.microsoft.com/office/drawing/2014/main" id="{A9AA2E6C-EBCE-4B97-AB00-23968A3265E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17C93FA-7D2C-4658-80E0-B891EA08A0C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5623941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3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  <p15:guide id="7" pos="306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batim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2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grpSp>
        <p:nvGrpSpPr>
          <p:cNvPr id="18" name="Group 10">
            <a:extLst>
              <a:ext uri="{FF2B5EF4-FFF2-40B4-BE49-F238E27FC236}">
                <a16:creationId xmlns:a16="http://schemas.microsoft.com/office/drawing/2014/main" id="{37034E82-C110-4AF1-81C9-1B2FF8608B01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tx2"/>
          </a:solidFill>
        </p:grpSpPr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id="{BD7A13DF-71B0-4DF3-9670-ECE32323174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12">
              <a:extLst>
                <a:ext uri="{FF2B5EF4-FFF2-40B4-BE49-F238E27FC236}">
                  <a16:creationId xmlns:a16="http://schemas.microsoft.com/office/drawing/2014/main" id="{C79DC92B-9CE8-407F-B93F-CA5ACD8F2E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</p:spPr>
        <p:txBody>
          <a:bodyPr anchor="b">
            <a:normAutofit/>
          </a:bodyPr>
          <a:lstStyle>
            <a:lvl1pPr marL="0" indent="0">
              <a:buNone/>
              <a:defRPr sz="2800"/>
            </a:lvl1pPr>
          </a:lstStyle>
          <a:p>
            <a:pPr lvl="0"/>
            <a:r>
              <a:rPr lang="en-GB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36285"/>
            <a:ext cx="9436100" cy="338554"/>
          </a:xfr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Name, Position</a:t>
            </a:r>
          </a:p>
        </p:txBody>
      </p:sp>
      <p:sp>
        <p:nvSpPr>
          <p:cNvPr id="4" name="Titre 3">
            <a:extLst>
              <a:ext uri="{FF2B5EF4-FFF2-40B4-BE49-F238E27FC236}">
                <a16:creationId xmlns:a16="http://schemas.microsoft.com/office/drawing/2014/main" id="{D69A5C51-135A-4539-8A83-F2DE50C157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</p:spTree>
    <p:extLst>
      <p:ext uri="{BB962C8B-B14F-4D97-AF65-F5344CB8AC3E}">
        <p14:creationId xmlns:p14="http://schemas.microsoft.com/office/powerpoint/2010/main" val="12627513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batim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5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117D3991-82D5-4923-813E-6007EFC65ED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</p:spPr>
        <p:txBody>
          <a:bodyPr anchor="b">
            <a:normAutofit/>
          </a:bodyPr>
          <a:lstStyle>
            <a:lvl1pPr marL="0" indent="0">
              <a:buNone/>
              <a:defRPr sz="2800"/>
            </a:lvl1pPr>
          </a:lstStyle>
          <a:p>
            <a:pPr lvl="0"/>
            <a:r>
              <a:rPr lang="en-GB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36285"/>
            <a:ext cx="9436100" cy="338554"/>
          </a:xfr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Name, Position</a:t>
            </a:r>
          </a:p>
        </p:txBody>
      </p:sp>
      <p:grpSp>
        <p:nvGrpSpPr>
          <p:cNvPr id="13" name="Group 10">
            <a:extLst>
              <a:ext uri="{FF2B5EF4-FFF2-40B4-BE49-F238E27FC236}">
                <a16:creationId xmlns:a16="http://schemas.microsoft.com/office/drawing/2014/main" id="{4A038897-2792-4479-8EAB-9A8ABDE74F32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bg2"/>
          </a:solidFill>
        </p:grpSpPr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BECFD5B3-64F4-4C51-A672-EBE7467808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099295A6-576A-454D-9A3A-8717776883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9F4AF75B-C07F-40D0-9789-3B7669A974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</p:spTree>
    <p:extLst>
      <p:ext uri="{BB962C8B-B14F-4D97-AF65-F5344CB8AC3E}">
        <p14:creationId xmlns:p14="http://schemas.microsoft.com/office/powerpoint/2010/main" val="15876495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erbatim_Turquoise bg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7BB89C52-7215-47FB-8975-6A2FFA2503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057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7BB89C52-7215-47FB-8975-6A2FFA2503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5187B2B-3878-47DA-815E-8BB73EED8EF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1" name="Espace réservé du texte 20">
            <a:extLst>
              <a:ext uri="{FF2B5EF4-FFF2-40B4-BE49-F238E27FC236}">
                <a16:creationId xmlns:a16="http://schemas.microsoft.com/office/drawing/2014/main" id="{04EB49EF-74A2-4A31-99CF-80E2BAF35E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351088" y="1494906"/>
            <a:ext cx="9436100" cy="2636591"/>
          </a:xfrm>
        </p:spPr>
        <p:txBody>
          <a:bodyPr anchor="b"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Insert your quote here</a:t>
            </a:r>
          </a:p>
        </p:txBody>
      </p:sp>
      <p:sp>
        <p:nvSpPr>
          <p:cNvPr id="24" name="Espace réservé du texte 20">
            <a:extLst>
              <a:ext uri="{FF2B5EF4-FFF2-40B4-BE49-F238E27FC236}">
                <a16:creationId xmlns:a16="http://schemas.microsoft.com/office/drawing/2014/main" id="{6B6F846B-8F0A-42EC-8144-B2B9983BA97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351088" y="4260907"/>
            <a:ext cx="9436100" cy="313932"/>
          </a:xfrm>
        </p:spPr>
        <p:txBody>
          <a:bodyPr anchor="b">
            <a:spAutoFit/>
          </a:bodyPr>
          <a:lstStyle>
            <a:lvl1pPr marL="0" indent="0" algn="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Name, Position</a:t>
            </a:r>
          </a:p>
        </p:txBody>
      </p:sp>
      <p:pic>
        <p:nvPicPr>
          <p:cNvPr id="15" name="Graphique 14">
            <a:extLst>
              <a:ext uri="{FF2B5EF4-FFF2-40B4-BE49-F238E27FC236}">
                <a16:creationId xmlns:a16="http://schemas.microsoft.com/office/drawing/2014/main" id="{4F76921A-1CA6-45D7-A760-D7C080EEEB2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grpSp>
        <p:nvGrpSpPr>
          <p:cNvPr id="16" name="Group 10">
            <a:extLst>
              <a:ext uri="{FF2B5EF4-FFF2-40B4-BE49-F238E27FC236}">
                <a16:creationId xmlns:a16="http://schemas.microsoft.com/office/drawing/2014/main" id="{B5EE29BA-2D73-4E72-A1CA-6B221F770E63}"/>
              </a:ext>
            </a:extLst>
          </p:cNvPr>
          <p:cNvGrpSpPr>
            <a:grpSpLocks/>
          </p:cNvGrpSpPr>
          <p:nvPr userDrawn="1"/>
        </p:nvGrpSpPr>
        <p:grpSpPr bwMode="auto">
          <a:xfrm rot="10800000" flipH="1">
            <a:off x="701006" y="1494906"/>
            <a:ext cx="1299066" cy="1063368"/>
            <a:chOff x="1033" y="1117"/>
            <a:chExt cx="1907" cy="1561"/>
          </a:xfrm>
          <a:solidFill>
            <a:schemeClr val="bg1"/>
          </a:solidFill>
        </p:grpSpPr>
        <p:sp>
          <p:nvSpPr>
            <p:cNvPr id="17" name="Freeform 11">
              <a:extLst>
                <a:ext uri="{FF2B5EF4-FFF2-40B4-BE49-F238E27FC236}">
                  <a16:creationId xmlns:a16="http://schemas.microsoft.com/office/drawing/2014/main" id="{07E82261-878F-41AC-82EB-D8EEDA8D477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033" y="1117"/>
              <a:ext cx="932" cy="1548"/>
            </a:xfrm>
            <a:custGeom>
              <a:avLst/>
              <a:gdLst>
                <a:gd name="T0" fmla="*/ 409 w 444"/>
                <a:gd name="T1" fmla="*/ 324 h 737"/>
                <a:gd name="T2" fmla="*/ 257 w 444"/>
                <a:gd name="T3" fmla="*/ 270 h 737"/>
                <a:gd name="T4" fmla="*/ 130 w 444"/>
                <a:gd name="T5" fmla="*/ 326 h 737"/>
                <a:gd name="T6" fmla="*/ 366 w 444"/>
                <a:gd name="T7" fmla="*/ 45 h 737"/>
                <a:gd name="T8" fmla="*/ 338 w 444"/>
                <a:gd name="T9" fmla="*/ 0 h 737"/>
                <a:gd name="T10" fmla="*/ 19 w 444"/>
                <a:gd name="T11" fmla="*/ 489 h 737"/>
                <a:gd name="T12" fmla="*/ 276 w 444"/>
                <a:gd name="T13" fmla="*/ 730 h 737"/>
                <a:gd name="T14" fmla="*/ 444 w 444"/>
                <a:gd name="T15" fmla="*/ 634 h 737"/>
                <a:gd name="T16" fmla="*/ 391 w 444"/>
                <a:gd name="T17" fmla="*/ 493 h 737"/>
                <a:gd name="T18" fmla="*/ 409 w 444"/>
                <a:gd name="T19" fmla="*/ 324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4" h="737">
                  <a:moveTo>
                    <a:pt x="409" y="324"/>
                  </a:moveTo>
                  <a:cubicBezTo>
                    <a:pt x="369" y="287"/>
                    <a:pt x="316" y="265"/>
                    <a:pt x="257" y="270"/>
                  </a:cubicBezTo>
                  <a:cubicBezTo>
                    <a:pt x="198" y="274"/>
                    <a:pt x="177" y="291"/>
                    <a:pt x="130" y="326"/>
                  </a:cubicBezTo>
                  <a:cubicBezTo>
                    <a:pt x="131" y="213"/>
                    <a:pt x="302" y="76"/>
                    <a:pt x="366" y="45"/>
                  </a:cubicBezTo>
                  <a:cubicBezTo>
                    <a:pt x="366" y="45"/>
                    <a:pt x="350" y="18"/>
                    <a:pt x="338" y="0"/>
                  </a:cubicBezTo>
                  <a:cubicBezTo>
                    <a:pt x="192" y="30"/>
                    <a:pt x="0" y="231"/>
                    <a:pt x="19" y="489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32" y="726"/>
                    <a:pt x="401" y="693"/>
                    <a:pt x="444" y="634"/>
                  </a:cubicBezTo>
                  <a:cubicBezTo>
                    <a:pt x="416" y="598"/>
                    <a:pt x="396" y="551"/>
                    <a:pt x="391" y="493"/>
                  </a:cubicBezTo>
                  <a:cubicBezTo>
                    <a:pt x="387" y="433"/>
                    <a:pt x="394" y="376"/>
                    <a:pt x="409" y="32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16276F45-0CAF-4CAB-9066-CAABA52E253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95" y="1130"/>
              <a:ext cx="1045" cy="1548"/>
            </a:xfrm>
            <a:custGeom>
              <a:avLst/>
              <a:gdLst>
                <a:gd name="T0" fmla="*/ 487 w 498"/>
                <a:gd name="T1" fmla="*/ 485 h 737"/>
                <a:gd name="T2" fmla="*/ 257 w 498"/>
                <a:gd name="T3" fmla="*/ 270 h 737"/>
                <a:gd name="T4" fmla="*/ 129 w 498"/>
                <a:gd name="T5" fmla="*/ 326 h 737"/>
                <a:gd name="T6" fmla="*/ 366 w 498"/>
                <a:gd name="T7" fmla="*/ 45 h 737"/>
                <a:gd name="T8" fmla="*/ 337 w 498"/>
                <a:gd name="T9" fmla="*/ 0 h 737"/>
                <a:gd name="T10" fmla="*/ 19 w 498"/>
                <a:gd name="T11" fmla="*/ 488 h 737"/>
                <a:gd name="T12" fmla="*/ 276 w 498"/>
                <a:gd name="T13" fmla="*/ 730 h 737"/>
                <a:gd name="T14" fmla="*/ 487 w 498"/>
                <a:gd name="T15" fmla="*/ 485 h 7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8" h="737">
                  <a:moveTo>
                    <a:pt x="487" y="485"/>
                  </a:moveTo>
                  <a:cubicBezTo>
                    <a:pt x="478" y="369"/>
                    <a:pt x="382" y="260"/>
                    <a:pt x="257" y="270"/>
                  </a:cubicBezTo>
                  <a:cubicBezTo>
                    <a:pt x="197" y="274"/>
                    <a:pt x="177" y="291"/>
                    <a:pt x="129" y="326"/>
                  </a:cubicBezTo>
                  <a:cubicBezTo>
                    <a:pt x="130" y="213"/>
                    <a:pt x="302" y="76"/>
                    <a:pt x="366" y="45"/>
                  </a:cubicBezTo>
                  <a:cubicBezTo>
                    <a:pt x="366" y="45"/>
                    <a:pt x="349" y="18"/>
                    <a:pt x="337" y="0"/>
                  </a:cubicBezTo>
                  <a:cubicBezTo>
                    <a:pt x="192" y="29"/>
                    <a:pt x="0" y="231"/>
                    <a:pt x="19" y="488"/>
                  </a:cubicBezTo>
                  <a:cubicBezTo>
                    <a:pt x="32" y="657"/>
                    <a:pt x="182" y="737"/>
                    <a:pt x="276" y="730"/>
                  </a:cubicBezTo>
                  <a:cubicBezTo>
                    <a:pt x="369" y="723"/>
                    <a:pt x="498" y="635"/>
                    <a:pt x="487" y="48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4" name="Titre 3">
            <a:extLst>
              <a:ext uri="{FF2B5EF4-FFF2-40B4-BE49-F238E27FC236}">
                <a16:creationId xmlns:a16="http://schemas.microsoft.com/office/drawing/2014/main" id="{BCFA5C14-C9CA-4FFB-9083-AE890C41C0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0" name="Espace réservé du numéro de diapositive 2">
            <a:extLst>
              <a:ext uri="{FF2B5EF4-FFF2-40B4-BE49-F238E27FC236}">
                <a16:creationId xmlns:a16="http://schemas.microsoft.com/office/drawing/2014/main" id="{D4126967-78A5-497D-A140-B29A3E7B98F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38B07116-5D1F-4AA7-9788-74A3139F7BB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</p:spTree>
    <p:extLst>
      <p:ext uri="{BB962C8B-B14F-4D97-AF65-F5344CB8AC3E}">
        <p14:creationId xmlns:p14="http://schemas.microsoft.com/office/powerpoint/2010/main" val="20591251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vis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pour une image  14">
            <a:extLst>
              <a:ext uri="{FF2B5EF4-FFF2-40B4-BE49-F238E27FC236}">
                <a16:creationId xmlns:a16="http://schemas.microsoft.com/office/drawing/2014/main" id="{CF658DAE-7146-4BB8-8107-92D632B4BBF9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5123892" y="0"/>
            <a:ext cx="7068108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/>
              <a:t> </a:t>
            </a:r>
          </a:p>
        </p:txBody>
      </p:sp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9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11" name="Espace réservé du numéro de diapositive 10">
            <a:extLst>
              <a:ext uri="{FF2B5EF4-FFF2-40B4-BE49-F238E27FC236}">
                <a16:creationId xmlns:a16="http://schemas.microsoft.com/office/drawing/2014/main" id="{D13C9137-663D-49DC-8F1F-B4154A1768F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BC255F4D-0F63-429F-A210-8AB39E1597B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4431074" cy="3868080"/>
          </a:xfrm>
        </p:spPr>
        <p:txBody>
          <a:bodyPr>
            <a:norm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8F43575F-7025-4100-95D8-AB5D8B996E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</a:t>
            </a:r>
            <a:r>
              <a:rPr lang="fr-FR" err="1"/>
              <a:t>slidE</a:t>
            </a:r>
            <a:endParaRPr lang="fr-FR"/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3946F594-BA66-4464-A354-77BE6FF12C0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4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E1843EEE-85CE-4470-99A7-7C858A82380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3845849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</a:t>
            </a:r>
            <a:r>
              <a:rPr lang="fr-FR" err="1"/>
              <a:t>slidE</a:t>
            </a:r>
            <a:endParaRPr lang="fr-FR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6357648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E03E893C-6741-453F-AB83-3BF7E4745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9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E03E893C-6741-453F-AB83-3BF7E4745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607D74-F512-4FC3-A30B-919D76C6342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79935D5E-B7ED-4F9D-A894-6B0811A25EEF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re 1">
            <a:extLst>
              <a:ext uri="{FF2B5EF4-FFF2-40B4-BE49-F238E27FC236}">
                <a16:creationId xmlns:a16="http://schemas.microsoft.com/office/drawing/2014/main" id="{0720AE2E-312C-4683-8989-D798355BADA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/>
              <a:t>TITLE OF THE SLIDE</a:t>
            </a:r>
          </a:p>
        </p:txBody>
      </p:sp>
      <p:sp>
        <p:nvSpPr>
          <p:cNvPr id="24" name="Sous-titre 2">
            <a:extLst>
              <a:ext uri="{FF2B5EF4-FFF2-40B4-BE49-F238E27FC236}">
                <a16:creationId xmlns:a16="http://schemas.microsoft.com/office/drawing/2014/main" id="{65680EBE-7995-4156-B622-28E72E2062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24732"/>
          </a:xfr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btitle of the presentation</a:t>
            </a:r>
          </a:p>
        </p:txBody>
      </p:sp>
      <p:pic>
        <p:nvPicPr>
          <p:cNvPr id="33" name="Image 32" descr="Une image contenant objet&#10;&#10;Description générée automatiquement">
            <a:extLst>
              <a:ext uri="{FF2B5EF4-FFF2-40B4-BE49-F238E27FC236}">
                <a16:creationId xmlns:a16="http://schemas.microsoft.com/office/drawing/2014/main" id="{EDBF095C-490F-455B-8877-BE70651A91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id="{40509EFD-4C7C-4D04-B91B-72E1A430F0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361105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E6E47F53-A22F-4C3B-A907-D28F75530F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2578642" cy="369332"/>
          </a:xfr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 of the speaker</a:t>
            </a:r>
          </a:p>
        </p:txBody>
      </p:sp>
      <p:pic>
        <p:nvPicPr>
          <p:cNvPr id="14" name="Graphique 12">
            <a:extLst>
              <a:ext uri="{FF2B5EF4-FFF2-40B4-BE49-F238E27FC236}">
                <a16:creationId xmlns:a16="http://schemas.microsoft.com/office/drawing/2014/main" id="{EDC392AE-DD2C-4A4A-B7EE-4301D02F161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30481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26B43"/>
          </p15:clr>
        </p15:guide>
        <p15:guide id="2" orient="horz" pos="1886">
          <p15:clr>
            <a:srgbClr val="F26B43"/>
          </p15:clr>
        </p15:guide>
        <p15:guide id="4" orient="horz" pos="3317">
          <p15:clr>
            <a:srgbClr val="F26B43"/>
          </p15:clr>
        </p15:guide>
        <p15:guide id="5" orient="horz" pos="3917">
          <p15:clr>
            <a:srgbClr val="F26B43"/>
          </p15:clr>
        </p15:guide>
        <p15:guide id="6" pos="288">
          <p15:clr>
            <a:srgbClr val="F26B43"/>
          </p15:clr>
        </p15:guide>
        <p15:guide id="7" pos="357">
          <p15:clr>
            <a:srgbClr val="A4A3A4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</a:t>
            </a:r>
            <a:r>
              <a:rPr lang="fr-FR" err="1"/>
              <a:t>slidE</a:t>
            </a:r>
            <a:endParaRPr lang="fr-FR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14123810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</a:t>
            </a:r>
            <a:r>
              <a:rPr lang="fr-FR" err="1"/>
              <a:t>slidE</a:t>
            </a:r>
            <a:endParaRPr lang="fr-FR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FC8FF2AF-06A0-4B8B-9C11-55AAD938CF0A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2BA67531-D311-47B7-B960-48B899E690DC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92485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A2E5821E-5E07-419A-93B0-B87D777322B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</a:t>
            </a:r>
            <a:r>
              <a:rPr lang="fr-FR" err="1"/>
              <a:t>slidE</a:t>
            </a:r>
            <a:endParaRPr lang="fr-FR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CDD6CB83-B5C7-4C2F-975F-4D9C7012975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2F8C33B5-002C-4EF1-B673-4461C926FCC8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35">
            <a:extLst>
              <a:ext uri="{FF2B5EF4-FFF2-40B4-BE49-F238E27FC236}">
                <a16:creationId xmlns:a16="http://schemas.microsoft.com/office/drawing/2014/main" id="{A95AE8C0-70B8-4713-90A9-411938A16F46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63159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268122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17202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solidFill>
                  <a:schemeClr val="bg1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FC2D6908-8D7A-4CE7-9DE7-6E0F205FAC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TITLE OF THE SLIDE</a:t>
            </a:r>
          </a:p>
        </p:txBody>
      </p:sp>
      <p:sp>
        <p:nvSpPr>
          <p:cNvPr id="13" name="Espace réservé du numéro de diapositive 2">
            <a:extLst>
              <a:ext uri="{FF2B5EF4-FFF2-40B4-BE49-F238E27FC236}">
                <a16:creationId xmlns:a16="http://schemas.microsoft.com/office/drawing/2014/main" id="{24ADEA99-782B-4EA9-8B50-5C36455F7ED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6" name="Espace réservé du pied de page 4">
            <a:extLst>
              <a:ext uri="{FF2B5EF4-FFF2-40B4-BE49-F238E27FC236}">
                <a16:creationId xmlns:a16="http://schemas.microsoft.com/office/drawing/2014/main" id="{1C65FA57-AC6F-4E7C-BFE5-E8B5F9BC4595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894C1CDE-19D4-4D84-B267-37EEF280E79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9772314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10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30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</a:t>
            </a:r>
            <a:r>
              <a:rPr lang="fr-FR" err="1"/>
              <a:t>slidE</a:t>
            </a:r>
            <a:endParaRPr lang="fr-FR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921721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[V2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</a:t>
            </a:r>
            <a:r>
              <a:rPr lang="fr-FR" err="1"/>
              <a:t>slidE</a:t>
            </a:r>
            <a:endParaRPr lang="fr-FR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851963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4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</a:t>
            </a:r>
            <a:r>
              <a:rPr lang="fr-FR" err="1"/>
              <a:t>slidE</a:t>
            </a:r>
            <a:endParaRPr lang="fr-FR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46EDFA8F-1089-4EDE-804F-C8EEA747D94B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E1FE6121-B033-48ED-8125-9D7B1EB9D180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4790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with titles &amp; visuals [V2] with divi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7">
            <a:extLst>
              <a:ext uri="{FF2B5EF4-FFF2-40B4-BE49-F238E27FC236}">
                <a16:creationId xmlns:a16="http://schemas.microsoft.com/office/drawing/2014/main" id="{956F1229-4838-4B2A-8426-04F56D2CA3E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5300" y="3433390"/>
            <a:ext cx="3121480" cy="341633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bg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8" name="Espace réservé du texte 7">
            <a:extLst>
              <a:ext uri="{FF2B5EF4-FFF2-40B4-BE49-F238E27FC236}">
                <a16:creationId xmlns:a16="http://schemas.microsoft.com/office/drawing/2014/main" id="{B2693C99-AE29-457B-968A-2239A52900B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35260" y="343339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tx2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9" name="Espace réservé du texte 7">
            <a:extLst>
              <a:ext uri="{FF2B5EF4-FFF2-40B4-BE49-F238E27FC236}">
                <a16:creationId xmlns:a16="http://schemas.microsoft.com/office/drawing/2014/main" id="{A01E6CBC-FC7B-426F-9962-4D075E7397D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75220" y="3433390"/>
            <a:ext cx="3121480" cy="341632"/>
          </a:xfrm>
        </p:spPr>
        <p:txBody>
          <a:bodyPr anchor="b">
            <a:spAutoFit/>
          </a:bodyPr>
          <a:lstStyle>
            <a:lvl1pPr marL="0" indent="0" algn="l">
              <a:buFont typeface="Arial" panose="020B0604020202020204" pitchFamily="34" charset="0"/>
              <a:buNone/>
              <a:defRPr b="1" cap="all" spc="0" baseline="0">
                <a:solidFill>
                  <a:schemeClr val="accent3"/>
                </a:solidFill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0" name="Espace réservé du texte 7">
            <a:extLst>
              <a:ext uri="{FF2B5EF4-FFF2-40B4-BE49-F238E27FC236}">
                <a16:creationId xmlns:a16="http://schemas.microsoft.com/office/drawing/2014/main" id="{D3B07922-F4EA-412B-8928-CBD31E51C22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5300" y="392419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1" name="Espace réservé du texte 7">
            <a:extLst>
              <a:ext uri="{FF2B5EF4-FFF2-40B4-BE49-F238E27FC236}">
                <a16:creationId xmlns:a16="http://schemas.microsoft.com/office/drawing/2014/main" id="{07C2FCBD-4D77-4221-8FE3-9ACE14F8663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35260" y="392419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12" name="Espace réservé du texte 7">
            <a:extLst>
              <a:ext uri="{FF2B5EF4-FFF2-40B4-BE49-F238E27FC236}">
                <a16:creationId xmlns:a16="http://schemas.microsoft.com/office/drawing/2014/main" id="{D706B066-FD11-478C-89AC-C849AC0D6F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575220" y="3924193"/>
            <a:ext cx="3121480" cy="338554"/>
          </a:xfrm>
        </p:spPr>
        <p:txBody>
          <a:bodyPr anchor="t">
            <a:spAutoFit/>
          </a:bodyPr>
          <a:lstStyle>
            <a:lvl1pPr marL="0" indent="0" algn="l">
              <a:lnSpc>
                <a:spcPct val="100000"/>
              </a:lnSpc>
              <a:spcBef>
                <a:spcPts val="300"/>
              </a:spcBef>
              <a:buFont typeface="Arial" panose="020B0604020202020204" pitchFamily="34" charset="0"/>
              <a:buNone/>
              <a:defRPr sz="1600" b="0" cap="none" spc="0" baseline="0">
                <a:latin typeface="+mn-lt"/>
              </a:defRPr>
            </a:lvl1pPr>
            <a:lvl2pPr marL="133350" indent="0" algn="ctr">
              <a:buNone/>
              <a:defRPr/>
            </a:lvl2pPr>
            <a:lvl3pPr marL="542925" indent="0" algn="ctr">
              <a:buNone/>
              <a:defRPr/>
            </a:lvl3pPr>
            <a:lvl4pPr marL="758825" indent="0" algn="ctr">
              <a:buNone/>
              <a:defRPr/>
            </a:lvl4pPr>
            <a:lvl5pPr marL="1033463" indent="0" algn="ctr">
              <a:buNone/>
              <a:defRPr/>
            </a:lvl5pPr>
          </a:lstStyle>
          <a:p>
            <a:pPr lvl="0"/>
            <a:r>
              <a:rPr lang="en-GB"/>
              <a:t>Your text here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5E5C377F-165D-4F92-8DD6-B7B690C55D8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pour une image  3">
            <a:extLst>
              <a:ext uri="{FF2B5EF4-FFF2-40B4-BE49-F238E27FC236}">
                <a16:creationId xmlns:a16="http://schemas.microsoft.com/office/drawing/2014/main" id="{819F08F9-1548-4EA7-B9D8-5A0F8A35175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8" name="Espace réservé pour une image  3">
            <a:extLst>
              <a:ext uri="{FF2B5EF4-FFF2-40B4-BE49-F238E27FC236}">
                <a16:creationId xmlns:a16="http://schemas.microsoft.com/office/drawing/2014/main" id="{9F9E6627-E8BC-407E-A08B-D5933391D5FE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19" name="Espace réservé pour une image  3">
            <a:extLst>
              <a:ext uri="{FF2B5EF4-FFF2-40B4-BE49-F238E27FC236}">
                <a16:creationId xmlns:a16="http://schemas.microsoft.com/office/drawing/2014/main" id="{EF1EFA6A-C7CB-40F1-8449-9F22C2AA8081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1412777"/>
            <a:ext cx="3121480" cy="161502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2042B6F5-C2DA-453F-A5C3-176EFCAFFF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err="1"/>
              <a:t>Title</a:t>
            </a:r>
            <a:r>
              <a:rPr lang="fr-FR"/>
              <a:t> of the </a:t>
            </a:r>
            <a:r>
              <a:rPr lang="fr-FR" err="1"/>
              <a:t>slidE</a:t>
            </a:r>
            <a:endParaRPr lang="fr-FR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0F578CD-8495-41E9-9EE0-893E378D516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cxnSp>
        <p:nvCxnSpPr>
          <p:cNvPr id="14" name="Straight Connector 35">
            <a:extLst>
              <a:ext uri="{FF2B5EF4-FFF2-40B4-BE49-F238E27FC236}">
                <a16:creationId xmlns:a16="http://schemas.microsoft.com/office/drawing/2014/main" id="{07307D6C-CFED-478A-8521-38542B995C3C}"/>
              </a:ext>
            </a:extLst>
          </p:cNvPr>
          <p:cNvCxnSpPr>
            <a:cxnSpLocks/>
          </p:cNvCxnSpPr>
          <p:nvPr userDrawn="1"/>
        </p:nvCxnSpPr>
        <p:spPr>
          <a:xfrm flipV="1">
            <a:off x="407602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35">
            <a:extLst>
              <a:ext uri="{FF2B5EF4-FFF2-40B4-BE49-F238E27FC236}">
                <a16:creationId xmlns:a16="http://schemas.microsoft.com/office/drawing/2014/main" id="{38E10114-9C0F-4DDB-BF6F-27B6517277F2}"/>
              </a:ext>
            </a:extLst>
          </p:cNvPr>
          <p:cNvCxnSpPr>
            <a:cxnSpLocks/>
          </p:cNvCxnSpPr>
          <p:nvPr userDrawn="1"/>
        </p:nvCxnSpPr>
        <p:spPr>
          <a:xfrm flipV="1">
            <a:off x="8115980" y="1808820"/>
            <a:ext cx="0" cy="3868080"/>
          </a:xfrm>
          <a:prstGeom prst="line">
            <a:avLst/>
          </a:prstGeom>
          <a:ln w="12700">
            <a:gradFill>
              <a:gsLst>
                <a:gs pos="0">
                  <a:schemeClr val="tx2">
                    <a:alpha val="0"/>
                  </a:schemeClr>
                </a:gs>
                <a:gs pos="55000">
                  <a:schemeClr val="tx2"/>
                </a:gs>
                <a:gs pos="100000">
                  <a:schemeClr val="tx2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638125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Visual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Espace réservé pour une image  3">
            <a:extLst>
              <a:ext uri="{FF2B5EF4-FFF2-40B4-BE49-F238E27FC236}">
                <a16:creationId xmlns:a16="http://schemas.microsoft.com/office/drawing/2014/main" id="{DEEBD65F-9282-4B5F-A1DF-2D1CD3CF8043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95300" y="2060848"/>
            <a:ext cx="3121480" cy="273630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28" name="Espace réservé pour une image  3">
            <a:extLst>
              <a:ext uri="{FF2B5EF4-FFF2-40B4-BE49-F238E27FC236}">
                <a16:creationId xmlns:a16="http://schemas.microsoft.com/office/drawing/2014/main" id="{92DC38E2-6433-425A-AC4B-48625A6E8808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535260" y="2060848"/>
            <a:ext cx="3121480" cy="273630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29" name="Espace réservé pour une image  3">
            <a:extLst>
              <a:ext uri="{FF2B5EF4-FFF2-40B4-BE49-F238E27FC236}">
                <a16:creationId xmlns:a16="http://schemas.microsoft.com/office/drawing/2014/main" id="{D5B047C5-121C-4653-820B-DD6B2F6EE107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575220" y="2060848"/>
            <a:ext cx="3121480" cy="2736304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GB"/>
              <a:t> 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1AD6EB8C-2615-4D88-8541-9EF352E77B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0" name="Espace réservé du numéro de diapositive 2">
            <a:extLst>
              <a:ext uri="{FF2B5EF4-FFF2-40B4-BE49-F238E27FC236}">
                <a16:creationId xmlns:a16="http://schemas.microsoft.com/office/drawing/2014/main" id="{D9D196F0-E493-49D2-9F1C-A192712DF1B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1DA3D5A4-C7A8-4D4E-87EB-5E1B79842736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C0063D2-D9CA-443F-8ADD-8084E6CAF01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28522812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7">
          <p15:clr>
            <a:srgbClr val="F26B43"/>
          </p15:clr>
        </p15:guide>
        <p15:guide id="2" pos="7427">
          <p15:clr>
            <a:srgbClr val="F26B43"/>
          </p15:clr>
        </p15:guide>
        <p15:guide id="3" orient="horz" pos="232">
          <p15:clr>
            <a:srgbClr val="F26B43"/>
          </p15:clr>
        </p15:guide>
        <p15:guide id="4" orient="horz" pos="600">
          <p15:clr>
            <a:srgbClr val="F26B43"/>
          </p15:clr>
        </p15:guide>
        <p15:guide id="5" pos="7379">
          <p15:clr>
            <a:srgbClr val="FBAE40"/>
          </p15:clr>
        </p15:guide>
        <p15:guide id="6" pos="306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_Dark Blue B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76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06C9BA4-2C1A-4C1C-ABBD-87F774202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4"/>
            <a:ext cx="2498984" cy="24989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4"/>
            <a:ext cx="2498984" cy="24989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4"/>
            <a:ext cx="2498984" cy="24989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3"/>
            <a:ext cx="3121480" cy="640175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3"/>
            <a:ext cx="3121480" cy="640175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3"/>
            <a:ext cx="3121480" cy="640175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9F68698D-F3B0-4788-AF4C-465233CDAD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C6A7D93F-558B-468A-BD97-4A324D31E450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D836BAF7-4960-44BE-976B-FA96BE235CD4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0FD6EC61-BEBC-4E54-BC44-9C1775E7065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863746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26B43"/>
          </p15:clr>
        </p15:guide>
        <p15:guide id="2" orient="horz" pos="613">
          <p15:clr>
            <a:srgbClr val="F26B43"/>
          </p15:clr>
        </p15:guide>
        <p15:guide id="3" pos="247">
          <p15:clr>
            <a:srgbClr val="F26B43"/>
          </p15:clr>
        </p15:guide>
        <p15:guide id="4" pos="7424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4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7584906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r>
              <a:rPr lang="en-GB"/>
              <a:t>Your text here</a:t>
            </a:r>
          </a:p>
          <a:p>
            <a:pPr lvl="1"/>
            <a:r>
              <a:rPr lang="en-GB"/>
              <a:t>Text level 1</a:t>
            </a:r>
          </a:p>
          <a:p>
            <a:pPr lvl="2"/>
            <a:r>
              <a:rPr lang="en-GB"/>
              <a:t>Text level 2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735C07-2264-401E-9223-98C1CA429B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3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72C4E26-BE79-4277-9CB6-37B3130818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426E006-4F5B-402C-916F-29E383EE086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E05915BF-F664-49DE-8489-CADDC55CA2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28420194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acts_Blue B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 6" hidden="1">
            <a:extLst>
              <a:ext uri="{FF2B5EF4-FFF2-40B4-BE49-F238E27FC236}">
                <a16:creationId xmlns:a16="http://schemas.microsoft.com/office/drawing/2014/main" id="{906C9BA4-2C1A-4C1C-ABBD-87F77420256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979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7" name="Objet 6" hidden="1">
                        <a:extLst>
                          <a:ext uri="{FF2B5EF4-FFF2-40B4-BE49-F238E27FC236}">
                            <a16:creationId xmlns:a16="http://schemas.microsoft.com/office/drawing/2014/main" id="{906C9BA4-2C1A-4C1C-ABBD-87F77420256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4CDAF32-7531-489D-9E20-8B6D3F3984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9AB0E7-CA31-4A74-99A1-D377A0137CBB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61020" y="3155514"/>
            <a:ext cx="2498984" cy="24989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7B23CA1B-04FD-4FE6-BA8E-8A20DD3B6E3F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700980" y="3155514"/>
            <a:ext cx="2498984" cy="24989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F9A195B7-D401-4421-B65D-1CEB16B5A92D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740940" y="3155514"/>
            <a:ext cx="2498984" cy="24989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41154020-330A-4307-8B18-1E1750724F8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5300" y="1653663"/>
            <a:ext cx="3121480" cy="640175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sp>
        <p:nvSpPr>
          <p:cNvPr id="17" name="Text Placeholder 15">
            <a:extLst>
              <a:ext uri="{FF2B5EF4-FFF2-40B4-BE49-F238E27FC236}">
                <a16:creationId xmlns:a16="http://schemas.microsoft.com/office/drawing/2014/main" id="{11E23B54-4D24-46E8-89DC-B72F0E0B6AB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5260" y="1653663"/>
            <a:ext cx="3121480" cy="640175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B9F6CCAB-D20D-4FE7-A52D-DB5FEFAAB54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75220" y="1653663"/>
            <a:ext cx="3121480" cy="640175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 marL="88900" indent="-88900">
              <a:buFont typeface="Arial" panose="020B0604020202020204" pitchFamily="34" charset="0"/>
              <a:buChar char=" "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Function</a:t>
            </a:r>
          </a:p>
        </p:txBody>
      </p:sp>
      <p:pic>
        <p:nvPicPr>
          <p:cNvPr id="22" name="Graphique 21">
            <a:extLst>
              <a:ext uri="{FF2B5EF4-FFF2-40B4-BE49-F238E27FC236}">
                <a16:creationId xmlns:a16="http://schemas.microsoft.com/office/drawing/2014/main" id="{51899836-D62E-4313-A8AB-0C1D11AC6FD6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1255164" y="6135730"/>
            <a:ext cx="549900" cy="495918"/>
          </a:xfrm>
          <a:prstGeom prst="rect">
            <a:avLst/>
          </a:prstGeom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655BB120-DEC8-4862-A749-F95DCFBBD8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21" name="Espace réservé du numéro de diapositive 2">
            <a:extLst>
              <a:ext uri="{FF2B5EF4-FFF2-40B4-BE49-F238E27FC236}">
                <a16:creationId xmlns:a16="http://schemas.microsoft.com/office/drawing/2014/main" id="{884DC4C2-9D2C-4842-A411-C03316909904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23" name="Espace réservé du pied de page 4">
            <a:extLst>
              <a:ext uri="{FF2B5EF4-FFF2-40B4-BE49-F238E27FC236}">
                <a16:creationId xmlns:a16="http://schemas.microsoft.com/office/drawing/2014/main" id="{80203216-1526-40D8-82F2-453F753FA3DB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  <p:sp>
        <p:nvSpPr>
          <p:cNvPr id="19" name="Text Placeholder 8">
            <a:extLst>
              <a:ext uri="{FF2B5EF4-FFF2-40B4-BE49-F238E27FC236}">
                <a16:creationId xmlns:a16="http://schemas.microsoft.com/office/drawing/2014/main" id="{2B73FA08-BEBA-4849-818A-CAA0CE59A66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509445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2">
          <p15:clr>
            <a:srgbClr val="F26B43"/>
          </p15:clr>
        </p15:guide>
        <p15:guide id="2" orient="horz" pos="613">
          <p15:clr>
            <a:srgbClr val="F26B43"/>
          </p15:clr>
        </p15:guide>
        <p15:guide id="3" pos="247">
          <p15:clr>
            <a:srgbClr val="F26B43"/>
          </p15:clr>
        </p15:guide>
        <p15:guide id="4" pos="7424">
          <p15:clr>
            <a:srgbClr val="F26B43"/>
          </p15:clr>
        </p15:guide>
        <p15:guide id="5" orient="horz" pos="3906">
          <p15:clr>
            <a:srgbClr val="F26B43"/>
          </p15:clr>
        </p15:guide>
        <p15:guide id="6" orient="horz" pos="4156">
          <p15:clr>
            <a:srgbClr val="F26B43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A7272C5A-A11F-4DD3-BF54-F64C82B84D6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A59EA477-4D96-4C94-A268-87C2D94F085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7540394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06595BE-8670-4A5F-B6E3-C00B54377605}"/>
              </a:ext>
            </a:extLst>
          </p:cNvPr>
          <p:cNvSpPr/>
          <p:nvPr userDrawn="1"/>
        </p:nvSpPr>
        <p:spPr>
          <a:xfrm>
            <a:off x="-1" y="0"/>
            <a:ext cx="598798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Espace réservé du numéro de diapositive 2">
            <a:extLst>
              <a:ext uri="{FF2B5EF4-FFF2-40B4-BE49-F238E27FC236}">
                <a16:creationId xmlns:a16="http://schemas.microsoft.com/office/drawing/2014/main" id="{4E9F0883-33F3-4D62-A0A5-04FAA00189A8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2" y="6219234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8" name="Espace réservé du pied de page 4">
            <a:extLst>
              <a:ext uri="{FF2B5EF4-FFF2-40B4-BE49-F238E27FC236}">
                <a16:creationId xmlns:a16="http://schemas.microsoft.com/office/drawing/2014/main" id="{7CE4141A-CB17-4D34-9EF4-654584A2F66C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>
                <a:solidFill>
                  <a:schemeClr val="bg1"/>
                </a:solidFill>
              </a:rPr>
              <a:t>© Ipsos | Doc Name</a:t>
            </a:r>
          </a:p>
        </p:txBody>
      </p:sp>
    </p:spTree>
    <p:extLst>
      <p:ext uri="{BB962C8B-B14F-4D97-AF65-F5344CB8AC3E}">
        <p14:creationId xmlns:p14="http://schemas.microsoft.com/office/powerpoint/2010/main" val="27943831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al on th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pour une image  14">
            <a:extLst>
              <a:ext uri="{FF2B5EF4-FFF2-40B4-BE49-F238E27FC236}">
                <a16:creationId xmlns:a16="http://schemas.microsoft.com/office/drawing/2014/main" id="{849086DD-2C7D-4896-95DA-63FF2B90DC0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123892" y="0"/>
            <a:ext cx="7068108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/>
          <a:p>
            <a:r>
              <a:rPr lang="en-GB"/>
              <a:t> 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B52F0521-4D9F-4207-B1DF-7BCF176045C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0FDE419E-CB0C-43DC-A5A5-526480C8B10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</p:spTree>
    <p:extLst>
      <p:ext uri="{BB962C8B-B14F-4D97-AF65-F5344CB8AC3E}">
        <p14:creationId xmlns:p14="http://schemas.microsoft.com/office/powerpoint/2010/main" val="38011454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06">
          <p15:clr>
            <a:srgbClr val="F26B43"/>
          </p15:clr>
        </p15:guide>
        <p15:guide id="2" orient="horz" pos="4156">
          <p15:clr>
            <a:srgbClr val="F26B43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83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9" name="Image 8" descr="Une image contenant objet&#10;&#10;Description générée automatiquement">
            <a:extLst>
              <a:ext uri="{FF2B5EF4-FFF2-40B4-BE49-F238E27FC236}">
                <a16:creationId xmlns:a16="http://schemas.microsoft.com/office/drawing/2014/main" id="{7AB34238-B7E0-4612-92CE-C4989B35C0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pic>
        <p:nvPicPr>
          <p:cNvPr id="7" name="Graphique 12">
            <a:extLst>
              <a:ext uri="{FF2B5EF4-FFF2-40B4-BE49-F238E27FC236}">
                <a16:creationId xmlns:a16="http://schemas.microsoft.com/office/drawing/2014/main" id="{4A97E8AF-E7A3-48CB-93FA-FB7ABD189EE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919342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407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C539E3ED-BDF3-459B-ADDB-C44E9D3916BA}"/>
              </a:ext>
            </a:extLst>
          </p:cNvPr>
          <p:cNvSpPr txBox="1"/>
          <p:nvPr userDrawn="1"/>
        </p:nvSpPr>
        <p:spPr>
          <a:xfrm>
            <a:off x="515380" y="944724"/>
            <a:ext cx="341632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200" b="1">
                <a:solidFill>
                  <a:schemeClr val="bg1"/>
                </a:solidFill>
                <a:latin typeface="+mn-lt"/>
              </a:rPr>
              <a:t>THANK</a:t>
            </a:r>
          </a:p>
        </p:txBody>
      </p:sp>
      <p:pic>
        <p:nvPicPr>
          <p:cNvPr id="14" name="Image 13" descr="Une image contenant objet&#10;&#10;Description générée automatiquement">
            <a:extLst>
              <a:ext uri="{FF2B5EF4-FFF2-40B4-BE49-F238E27FC236}">
                <a16:creationId xmlns:a16="http://schemas.microsoft.com/office/drawing/2014/main" id="{F8221D8A-EA7F-4431-BA65-C4F6154E89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20" name="ZoneTexte 19">
            <a:extLst>
              <a:ext uri="{FF2B5EF4-FFF2-40B4-BE49-F238E27FC236}">
                <a16:creationId xmlns:a16="http://schemas.microsoft.com/office/drawing/2014/main" id="{6EB9C8AA-305A-4586-B066-7FD90B345C8E}"/>
              </a:ext>
            </a:extLst>
          </p:cNvPr>
          <p:cNvSpPr txBox="1"/>
          <p:nvPr userDrawn="1"/>
        </p:nvSpPr>
        <p:spPr>
          <a:xfrm>
            <a:off x="613347" y="2014987"/>
            <a:ext cx="2628292" cy="1116124"/>
          </a:xfrm>
          <a:prstGeom prst="rect">
            <a:avLst/>
          </a:prstGeom>
          <a:solidFill>
            <a:schemeClr val="tx2"/>
          </a:solidFill>
        </p:spPr>
        <p:txBody>
          <a:bodyPr wrap="square" lIns="180000" rIns="180000" rtlCol="0">
            <a:noAutofit/>
          </a:bodyPr>
          <a:lstStyle/>
          <a:p>
            <a:pPr algn="ctr"/>
            <a:r>
              <a:rPr lang="fr-FR" sz="7200" b="1">
                <a:solidFill>
                  <a:schemeClr val="bg1"/>
                </a:solidFill>
                <a:latin typeface="+mn-lt"/>
              </a:rPr>
              <a:t>YOU</a:t>
            </a:r>
          </a:p>
        </p:txBody>
      </p:sp>
      <p:pic>
        <p:nvPicPr>
          <p:cNvPr id="9" name="Graphique 12">
            <a:extLst>
              <a:ext uri="{FF2B5EF4-FFF2-40B4-BE49-F238E27FC236}">
                <a16:creationId xmlns:a16="http://schemas.microsoft.com/office/drawing/2014/main" id="{179AD86B-4CB0-4369-A2E2-E512D4A8BC3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7656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s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>
            <a:extLst>
              <a:ext uri="{FF2B5EF4-FFF2-40B4-BE49-F238E27FC236}">
                <a16:creationId xmlns:a16="http://schemas.microsoft.com/office/drawing/2014/main" id="{8866C9DA-1390-4B1C-A5FA-DA3341B9216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31" name="Diapositive think-cell" r:id="rId4" imgW="532" imgH="530" progId="TCLayout.ActiveDocument.1">
                  <p:embed/>
                </p:oleObj>
              </mc:Choice>
              <mc:Fallback>
                <p:oleObj name="Diapositive think-cell" r:id="rId4" imgW="532" imgH="530" progId="TCLayout.ActiveDocument.1">
                  <p:embed/>
                  <p:pic>
                    <p:nvPicPr>
                      <p:cNvPr id="3" name="Objet 2" hidden="1">
                        <a:extLst>
                          <a:ext uri="{FF2B5EF4-FFF2-40B4-BE49-F238E27FC236}">
                            <a16:creationId xmlns:a16="http://schemas.microsoft.com/office/drawing/2014/main" id="{8866C9DA-1390-4B1C-A5FA-DA3341B9216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4" name="Image 13" descr="Une image contenant objet&#10;&#10;Description générée automatiquement">
            <a:extLst>
              <a:ext uri="{FF2B5EF4-FFF2-40B4-BE49-F238E27FC236}">
                <a16:creationId xmlns:a16="http://schemas.microsoft.com/office/drawing/2014/main" id="{99BF86A5-F0B8-42C9-A87E-16C8B6F680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23242"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F679F638-3664-4A3D-B3CC-1AE9AB09B32C}"/>
              </a:ext>
            </a:extLst>
          </p:cNvPr>
          <p:cNvSpPr/>
          <p:nvPr userDrawn="1"/>
        </p:nvSpPr>
        <p:spPr>
          <a:xfrm>
            <a:off x="613347" y="2022491"/>
            <a:ext cx="2628292" cy="1116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34" name="Groupe 33">
            <a:extLst>
              <a:ext uri="{FF2B5EF4-FFF2-40B4-BE49-F238E27FC236}">
                <a16:creationId xmlns:a16="http://schemas.microsoft.com/office/drawing/2014/main" id="{113FDBA7-5D27-421C-85B6-3FA82D4FF202}"/>
              </a:ext>
            </a:extLst>
          </p:cNvPr>
          <p:cNvGrpSpPr/>
          <p:nvPr userDrawn="1"/>
        </p:nvGrpSpPr>
        <p:grpSpPr>
          <a:xfrm>
            <a:off x="697167" y="1903445"/>
            <a:ext cx="2376783" cy="1354217"/>
            <a:chOff x="794460" y="1664804"/>
            <a:chExt cx="2376783" cy="1354217"/>
          </a:xfrm>
        </p:grpSpPr>
        <p:sp>
          <p:nvSpPr>
            <p:cNvPr id="36" name="TextBox 12">
              <a:extLst>
                <a:ext uri="{FF2B5EF4-FFF2-40B4-BE49-F238E27FC236}">
                  <a16:creationId xmlns:a16="http://schemas.microsoft.com/office/drawing/2014/main" id="{6DBE849B-11CF-4A64-8448-70B62EB6CF22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94460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>
                  <a:blipFill>
                    <a:blip r:embed="rId8"/>
                    <a:stretch>
                      <a:fillRect/>
                    </a:stretch>
                  </a:blipFill>
                </a:rPr>
                <a:t>Y</a:t>
              </a:r>
            </a:p>
          </p:txBody>
        </p:sp>
        <p:sp>
          <p:nvSpPr>
            <p:cNvPr id="37" name="TextBox 12">
              <a:extLst>
                <a:ext uri="{FF2B5EF4-FFF2-40B4-BE49-F238E27FC236}">
                  <a16:creationId xmlns:a16="http://schemas.microsoft.com/office/drawing/2014/main" id="{A243C84E-50CC-4C5F-B7D5-5A14645EA45A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1550687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>
                  <a:blipFill>
                    <a:blip r:embed="rId8"/>
                    <a:stretch>
                      <a:fillRect/>
                    </a:stretch>
                  </a:blipFill>
                </a:rPr>
                <a:t>O</a:t>
              </a:r>
            </a:p>
          </p:txBody>
        </p:sp>
        <p:sp>
          <p:nvSpPr>
            <p:cNvPr id="38" name="TextBox 12">
              <a:extLst>
                <a:ext uri="{FF2B5EF4-FFF2-40B4-BE49-F238E27FC236}">
                  <a16:creationId xmlns:a16="http://schemas.microsoft.com/office/drawing/2014/main" id="{4DE2360C-0138-43FB-88B6-A916D5FF6C06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2356918" y="1664804"/>
              <a:ext cx="814325" cy="1354217"/>
            </a:xfrm>
            <a:prstGeom prst="rect">
              <a:avLst/>
            </a:prstGeom>
            <a:noFill/>
          </p:spPr>
          <p:txBody>
            <a:bodyPr wrap="none" lIns="0" tIns="0" rIns="0" bIns="0" rtlCol="0" anchor="ctr">
              <a:noAutofit/>
            </a:bodyPr>
            <a:lstStyle/>
            <a:p>
              <a:pPr algn="ctr"/>
              <a:r>
                <a:rPr lang="en-GB" sz="8000" b="1">
                  <a:blipFill>
                    <a:blip r:embed="rId8"/>
                    <a:stretch>
                      <a:fillRect/>
                    </a:stretch>
                  </a:blipFill>
                </a:rPr>
                <a:t>U</a:t>
              </a:r>
            </a:p>
          </p:txBody>
        </p:sp>
      </p:grpSp>
      <p:sp>
        <p:nvSpPr>
          <p:cNvPr id="40" name="ZoneTexte 39">
            <a:extLst>
              <a:ext uri="{FF2B5EF4-FFF2-40B4-BE49-F238E27FC236}">
                <a16:creationId xmlns:a16="http://schemas.microsoft.com/office/drawing/2014/main" id="{63612154-01AA-4A44-9626-0CEFBE31DD80}"/>
              </a:ext>
            </a:extLst>
          </p:cNvPr>
          <p:cNvSpPr txBox="1"/>
          <p:nvPr userDrawn="1"/>
        </p:nvSpPr>
        <p:spPr>
          <a:xfrm>
            <a:off x="515380" y="944724"/>
            <a:ext cx="3416320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sz="7200" b="1">
                <a:solidFill>
                  <a:schemeClr val="bg1"/>
                </a:solidFill>
                <a:latin typeface="+mn-lt"/>
              </a:rPr>
              <a:t>THANK</a:t>
            </a:r>
          </a:p>
        </p:txBody>
      </p:sp>
      <p:pic>
        <p:nvPicPr>
          <p:cNvPr id="15" name="Graphique 12">
            <a:extLst>
              <a:ext uri="{FF2B5EF4-FFF2-40B4-BE49-F238E27FC236}">
                <a16:creationId xmlns:a16="http://schemas.microsoft.com/office/drawing/2014/main" id="{9A6E24CF-8D33-4CD9-8F42-13A4AED0D589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606386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7271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 dirty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7584906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44500" indent="-311150">
              <a:buClrTx/>
              <a:buSzPct val="100000"/>
              <a:buFont typeface="Arial" panose="020B0604020202020204" pitchFamily="34" charset="0"/>
              <a:buChar char="•"/>
              <a:tabLst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r>
              <a:rPr lang="en-GB" dirty="0"/>
              <a:t>Your text here</a:t>
            </a:r>
          </a:p>
          <a:p>
            <a:pPr lvl="1"/>
            <a:r>
              <a:rPr lang="en-GB" dirty="0"/>
              <a:t>Text level 1</a:t>
            </a:r>
          </a:p>
          <a:p>
            <a:pPr lvl="2"/>
            <a:r>
              <a:rPr lang="en-GB" dirty="0"/>
              <a:t>Text level 2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735C07-2264-401E-9223-98C1CA429B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7584906" cy="353943"/>
          </a:xfrm>
          <a:noFill/>
        </p:spPr>
        <p:txBody>
          <a:bodyPr wrap="squar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426E006-4F5B-402C-916F-29E383EE086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98C063-0943-5C47-87BE-EF3F5E1255CA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E568C18F-487B-4C08-B722-0C72845B8F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04579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9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t 4" hidden="1">
            <a:extLst>
              <a:ext uri="{FF2B5EF4-FFF2-40B4-BE49-F238E27FC236}">
                <a16:creationId xmlns:a16="http://schemas.microsoft.com/office/drawing/2014/main" id="{E03E893C-6741-453F-AB83-3BF7E47452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503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5" name="Objet 4" hidden="1">
                        <a:extLst>
                          <a:ext uri="{FF2B5EF4-FFF2-40B4-BE49-F238E27FC236}">
                            <a16:creationId xmlns:a16="http://schemas.microsoft.com/office/drawing/2014/main" id="{E03E893C-6741-453F-AB83-3BF7E47452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4607D74-F512-4FC3-A30B-919D76C6342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60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9" name="Forme libre : forme 28">
            <a:extLst>
              <a:ext uri="{FF2B5EF4-FFF2-40B4-BE49-F238E27FC236}">
                <a16:creationId xmlns:a16="http://schemas.microsoft.com/office/drawing/2014/main" id="{7F299C1D-1251-47CF-8DC0-0B896E12FCE0}"/>
              </a:ext>
            </a:extLst>
          </p:cNvPr>
          <p:cNvSpPr/>
          <p:nvPr userDrawn="1"/>
        </p:nvSpPr>
        <p:spPr>
          <a:xfrm rot="18932423">
            <a:off x="2101012" y="2821242"/>
            <a:ext cx="11030122" cy="1215516"/>
          </a:xfrm>
          <a:custGeom>
            <a:avLst/>
            <a:gdLst>
              <a:gd name="connsiteX0" fmla="*/ 9791459 w 11030122"/>
              <a:gd name="connsiteY0" fmla="*/ 0 h 1215516"/>
              <a:gd name="connsiteX1" fmla="*/ 11030122 w 11030122"/>
              <a:gd name="connsiteY1" fmla="*/ 1215516 h 1215516"/>
              <a:gd name="connsiteX2" fmla="*/ 1238664 w 11030122"/>
              <a:gd name="connsiteY2" fmla="*/ 1215516 h 1215516"/>
              <a:gd name="connsiteX3" fmla="*/ 0 w 11030122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030122" h="1215516">
                <a:moveTo>
                  <a:pt x="9791459" y="0"/>
                </a:moveTo>
                <a:lnTo>
                  <a:pt x="11030122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1" name="Forme libre : forme 30">
            <a:extLst>
              <a:ext uri="{FF2B5EF4-FFF2-40B4-BE49-F238E27FC236}">
                <a16:creationId xmlns:a16="http://schemas.microsoft.com/office/drawing/2014/main" id="{C687F725-9BAA-4FDE-BF5B-B39EF6EA033C}"/>
              </a:ext>
            </a:extLst>
          </p:cNvPr>
          <p:cNvSpPr/>
          <p:nvPr userDrawn="1"/>
        </p:nvSpPr>
        <p:spPr>
          <a:xfrm rot="18932423">
            <a:off x="4731456" y="3460932"/>
            <a:ext cx="9203499" cy="1215516"/>
          </a:xfrm>
          <a:custGeom>
            <a:avLst/>
            <a:gdLst>
              <a:gd name="connsiteX0" fmla="*/ 9203499 w 9203499"/>
              <a:gd name="connsiteY0" fmla="*/ 0 h 1215516"/>
              <a:gd name="connsiteX1" fmla="*/ 8010698 w 9203499"/>
              <a:gd name="connsiteY1" fmla="*/ 1215516 h 1215516"/>
              <a:gd name="connsiteX2" fmla="*/ 1238664 w 9203499"/>
              <a:gd name="connsiteY2" fmla="*/ 1215516 h 1215516"/>
              <a:gd name="connsiteX3" fmla="*/ 0 w 9203499"/>
              <a:gd name="connsiteY3" fmla="*/ 0 h 12155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03499" h="1215516">
                <a:moveTo>
                  <a:pt x="9203499" y="0"/>
                </a:moveTo>
                <a:lnTo>
                  <a:pt x="8010698" y="1215516"/>
                </a:lnTo>
                <a:lnTo>
                  <a:pt x="1238664" y="1215516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17" name="Connecteur droit 16">
            <a:extLst>
              <a:ext uri="{FF2B5EF4-FFF2-40B4-BE49-F238E27FC236}">
                <a16:creationId xmlns:a16="http://schemas.microsoft.com/office/drawing/2014/main" id="{79935D5E-B7ED-4F9D-A894-6B0811A25EEF}"/>
              </a:ext>
            </a:extLst>
          </p:cNvPr>
          <p:cNvCxnSpPr>
            <a:cxnSpLocks/>
          </p:cNvCxnSpPr>
          <p:nvPr userDrawn="1"/>
        </p:nvCxnSpPr>
        <p:spPr>
          <a:xfrm>
            <a:off x="571500" y="3933056"/>
            <a:ext cx="66396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tre 1">
            <a:extLst>
              <a:ext uri="{FF2B5EF4-FFF2-40B4-BE49-F238E27FC236}">
                <a16:creationId xmlns:a16="http://schemas.microsoft.com/office/drawing/2014/main" id="{0720AE2E-312C-4683-8989-D798355BADA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9207" y="521852"/>
            <a:ext cx="7551997" cy="2475348"/>
          </a:xfrm>
        </p:spPr>
        <p:txBody>
          <a:bodyPr lIns="72000" anchor="t">
            <a:normAutofit/>
          </a:bodyPr>
          <a:lstStyle>
            <a:lvl1pPr algn="l">
              <a:lnSpc>
                <a:spcPct val="80000"/>
              </a:lnSpc>
              <a:defRPr sz="6000" b="1" cap="all" spc="-200" baseline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en-GB"/>
              <a:t>TITLE OF THE SLIDE</a:t>
            </a:r>
          </a:p>
        </p:txBody>
      </p:sp>
      <p:sp>
        <p:nvSpPr>
          <p:cNvPr id="24" name="Sous-titre 2">
            <a:extLst>
              <a:ext uri="{FF2B5EF4-FFF2-40B4-BE49-F238E27FC236}">
                <a16:creationId xmlns:a16="http://schemas.microsoft.com/office/drawing/2014/main" id="{65680EBE-7995-4156-B622-28E72E20628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9131" y="3001503"/>
            <a:ext cx="7551997" cy="424732"/>
          </a:xfrm>
        </p:spPr>
        <p:txBody>
          <a:bodyPr wrap="square" lIns="108000" rIns="180000">
            <a:spAutoFit/>
          </a:bodyPr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Subtitle of the presentation</a:t>
            </a:r>
          </a:p>
        </p:txBody>
      </p:sp>
      <p:pic>
        <p:nvPicPr>
          <p:cNvPr id="33" name="Image 32" descr="Une image contenant objet&#10;&#10;Description générée automatiquement">
            <a:extLst>
              <a:ext uri="{FF2B5EF4-FFF2-40B4-BE49-F238E27FC236}">
                <a16:creationId xmlns:a16="http://schemas.microsoft.com/office/drawing/2014/main" id="{EDBF095C-490F-455B-8877-BE70651A910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80176" y="5467579"/>
            <a:ext cx="2802864" cy="649976"/>
          </a:xfrm>
          <a:prstGeom prst="rect">
            <a:avLst/>
          </a:prstGeom>
        </p:spPr>
      </p:pic>
      <p:sp>
        <p:nvSpPr>
          <p:cNvPr id="15" name="Espace réservé de la date 3">
            <a:extLst>
              <a:ext uri="{FF2B5EF4-FFF2-40B4-BE49-F238E27FC236}">
                <a16:creationId xmlns:a16="http://schemas.microsoft.com/office/drawing/2014/main" id="{40509EFD-4C7C-4D04-B91B-72E1A430F01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9132" y="4402897"/>
            <a:ext cx="1361105" cy="215444"/>
          </a:xfrm>
          <a:prstGeom prst="rect">
            <a:avLst/>
          </a:prstGeom>
        </p:spPr>
        <p:txBody>
          <a:bodyPr wrap="none" lIns="108000" tIns="0" rIns="180000" bIns="0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fld id="{BC882573-CF8D-477B-8EF6-9CF97BBEDB1A}" type="datetime3">
              <a:rPr lang="en-GB" smtClean="0"/>
              <a:t>17 September, 2020</a:t>
            </a:fld>
            <a:endParaRPr lang="en-GB"/>
          </a:p>
        </p:txBody>
      </p:sp>
      <p:sp>
        <p:nvSpPr>
          <p:cNvPr id="16" name="Espace réservé du texte 8">
            <a:extLst>
              <a:ext uri="{FF2B5EF4-FFF2-40B4-BE49-F238E27FC236}">
                <a16:creationId xmlns:a16="http://schemas.microsoft.com/office/drawing/2014/main" id="{E6E47F53-A22F-4C3B-A907-D28F75530F2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59132" y="4014515"/>
            <a:ext cx="2578642" cy="369332"/>
          </a:xfrm>
        </p:spPr>
        <p:txBody>
          <a:bodyPr wrap="none" lIns="10800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Name of the speaker</a:t>
            </a:r>
          </a:p>
        </p:txBody>
      </p:sp>
      <p:pic>
        <p:nvPicPr>
          <p:cNvPr id="14" name="Graphique 12">
            <a:extLst>
              <a:ext uri="{FF2B5EF4-FFF2-40B4-BE49-F238E27FC236}">
                <a16:creationId xmlns:a16="http://schemas.microsoft.com/office/drawing/2014/main" id="{EDC392AE-DD2C-4A4A-B7EE-4301D02F161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30260" y="5358931"/>
            <a:ext cx="863743" cy="791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87356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9">
          <p15:clr>
            <a:srgbClr val="F26B43"/>
          </p15:clr>
        </p15:guide>
        <p15:guide id="2" orient="horz" pos="1886">
          <p15:clr>
            <a:srgbClr val="F26B43"/>
          </p15:clr>
        </p15:guide>
        <p15:guide id="4" orient="horz" pos="3317">
          <p15:clr>
            <a:srgbClr val="F26B43"/>
          </p15:clr>
        </p15:guide>
        <p15:guide id="5" orient="horz" pos="3917">
          <p15:clr>
            <a:srgbClr val="F26B43"/>
          </p15:clr>
        </p15:guide>
        <p15:guide id="6" pos="288">
          <p15:clr>
            <a:srgbClr val="F26B43"/>
          </p15:clr>
        </p15:guide>
        <p15:guide id="7" pos="357">
          <p15:clr>
            <a:srgbClr val="A4A3A4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2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703231E-4063-4D72-A4F3-5BF19050C30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4786" y="1808820"/>
            <a:ext cx="7584906" cy="3868080"/>
          </a:xfrm>
        </p:spPr>
        <p:txBody>
          <a:bodyPr>
            <a:noAutofit/>
          </a:bodyPr>
          <a:lstStyle>
            <a:lvl1pPr>
              <a:spcBef>
                <a:spcPts val="1800"/>
              </a:spcBef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r>
              <a:rPr lang="en-GB"/>
              <a:t>Your text here</a:t>
            </a:r>
          </a:p>
          <a:p>
            <a:pPr lvl="1"/>
            <a:r>
              <a:rPr lang="en-GB"/>
              <a:t>Text level 1</a:t>
            </a:r>
          </a:p>
          <a:p>
            <a:pPr lvl="2"/>
            <a:r>
              <a:rPr lang="en-GB"/>
              <a:t>Text level 2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735C07-2264-401E-9223-98C1CA429B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4786" y="1368596"/>
            <a:ext cx="2311063" cy="353943"/>
          </a:xfr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tx2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A72C4E26-BE79-4277-9CB6-37B3130818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6" y="5914632"/>
            <a:ext cx="11463417" cy="215444"/>
          </a:xfr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>
                    <a:lumMod val="50000"/>
                  </a:schemeClr>
                </a:solidFill>
              </a:defRPr>
            </a:lvl1pPr>
            <a:lvl2pPr marL="133350" indent="0">
              <a:buNone/>
              <a:defRPr/>
            </a:lvl2pPr>
            <a:lvl3pPr marL="542925" indent="0">
              <a:buNone/>
              <a:defRPr/>
            </a:lvl3pPr>
            <a:lvl4pPr marL="758825" indent="0">
              <a:buNone/>
              <a:defRPr/>
            </a:lvl4pPr>
            <a:lvl5pPr marL="1033463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6426E006-4F5B-402C-916F-29E383EE086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E05915BF-F664-49DE-8489-CADDC55CA2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TITLE OF THE SLIDE</a:t>
            </a:r>
          </a:p>
        </p:txBody>
      </p:sp>
    </p:spTree>
    <p:extLst>
      <p:ext uri="{BB962C8B-B14F-4D97-AF65-F5344CB8AC3E}">
        <p14:creationId xmlns:p14="http://schemas.microsoft.com/office/powerpoint/2010/main" val="12595236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5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emf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3.xml"/><Relationship Id="rId21" Type="http://schemas.openxmlformats.org/officeDocument/2006/relationships/slideLayout" Target="../slideLayouts/slideLayout28.xml"/><Relationship Id="rId34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9.xml"/><Relationship Id="rId47" Type="http://schemas.openxmlformats.org/officeDocument/2006/relationships/slideLayout" Target="../slideLayouts/slideLayout54.xml"/><Relationship Id="rId50" Type="http://schemas.openxmlformats.org/officeDocument/2006/relationships/slideLayout" Target="../slideLayouts/slideLayout57.xml"/><Relationship Id="rId55" Type="http://schemas.openxmlformats.org/officeDocument/2006/relationships/slideLayout" Target="../slideLayouts/slideLayout62.xml"/><Relationship Id="rId63" Type="http://schemas.openxmlformats.org/officeDocument/2006/relationships/slideLayout" Target="../slideLayouts/slideLayout70.xml"/><Relationship Id="rId68" Type="http://schemas.openxmlformats.org/officeDocument/2006/relationships/slideLayout" Target="../slideLayouts/slideLayout75.xml"/><Relationship Id="rId76" Type="http://schemas.openxmlformats.org/officeDocument/2006/relationships/slideLayout" Target="../slideLayouts/slideLayout83.xml"/><Relationship Id="rId84" Type="http://schemas.openxmlformats.org/officeDocument/2006/relationships/slideLayout" Target="../slideLayouts/slideLayout91.xml"/><Relationship Id="rId89" Type="http://schemas.openxmlformats.org/officeDocument/2006/relationships/slideLayout" Target="../slideLayouts/slideLayout96.xml"/><Relationship Id="rId97" Type="http://schemas.openxmlformats.org/officeDocument/2006/relationships/image" Target="../media/image9.png"/><Relationship Id="rId7" Type="http://schemas.openxmlformats.org/officeDocument/2006/relationships/slideLayout" Target="../slideLayouts/slideLayout14.xml"/><Relationship Id="rId71" Type="http://schemas.openxmlformats.org/officeDocument/2006/relationships/slideLayout" Target="../slideLayouts/slideLayout78.xml"/><Relationship Id="rId92" Type="http://schemas.openxmlformats.org/officeDocument/2006/relationships/vmlDrawing" Target="../drawings/vmlDrawing8.vml"/><Relationship Id="rId2" Type="http://schemas.openxmlformats.org/officeDocument/2006/relationships/slideLayout" Target="../slideLayouts/slideLayout9.xml"/><Relationship Id="rId16" Type="http://schemas.openxmlformats.org/officeDocument/2006/relationships/slideLayout" Target="../slideLayouts/slideLayout23.xml"/><Relationship Id="rId29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18.xml"/><Relationship Id="rId24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9.xml"/><Relationship Id="rId37" Type="http://schemas.openxmlformats.org/officeDocument/2006/relationships/slideLayout" Target="../slideLayouts/slideLayout44.xml"/><Relationship Id="rId40" Type="http://schemas.openxmlformats.org/officeDocument/2006/relationships/slideLayout" Target="../slideLayouts/slideLayout47.xml"/><Relationship Id="rId45" Type="http://schemas.openxmlformats.org/officeDocument/2006/relationships/slideLayout" Target="../slideLayouts/slideLayout52.xml"/><Relationship Id="rId53" Type="http://schemas.openxmlformats.org/officeDocument/2006/relationships/slideLayout" Target="../slideLayouts/slideLayout60.xml"/><Relationship Id="rId58" Type="http://schemas.openxmlformats.org/officeDocument/2006/relationships/slideLayout" Target="../slideLayouts/slideLayout65.xml"/><Relationship Id="rId66" Type="http://schemas.openxmlformats.org/officeDocument/2006/relationships/slideLayout" Target="../slideLayouts/slideLayout73.xml"/><Relationship Id="rId74" Type="http://schemas.openxmlformats.org/officeDocument/2006/relationships/slideLayout" Target="../slideLayouts/slideLayout81.xml"/><Relationship Id="rId79" Type="http://schemas.openxmlformats.org/officeDocument/2006/relationships/slideLayout" Target="../slideLayouts/slideLayout86.xml"/><Relationship Id="rId87" Type="http://schemas.openxmlformats.org/officeDocument/2006/relationships/slideLayout" Target="../slideLayouts/slideLayout94.xml"/><Relationship Id="rId5" Type="http://schemas.openxmlformats.org/officeDocument/2006/relationships/slideLayout" Target="../slideLayouts/slideLayout12.xml"/><Relationship Id="rId61" Type="http://schemas.openxmlformats.org/officeDocument/2006/relationships/slideLayout" Target="../slideLayouts/slideLayout68.xml"/><Relationship Id="rId82" Type="http://schemas.openxmlformats.org/officeDocument/2006/relationships/slideLayout" Target="../slideLayouts/slideLayout89.xml"/><Relationship Id="rId90" Type="http://schemas.openxmlformats.org/officeDocument/2006/relationships/slideLayout" Target="../slideLayouts/slideLayout97.xml"/><Relationship Id="rId95" Type="http://schemas.openxmlformats.org/officeDocument/2006/relationships/oleObject" Target="../embeddings/oleObject7.bin"/><Relationship Id="rId1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9.xml"/><Relationship Id="rId27" Type="http://schemas.openxmlformats.org/officeDocument/2006/relationships/slideLayout" Target="../slideLayouts/slideLayout34.xml"/><Relationship Id="rId30" Type="http://schemas.openxmlformats.org/officeDocument/2006/relationships/slideLayout" Target="../slideLayouts/slideLayout37.xml"/><Relationship Id="rId35" Type="http://schemas.openxmlformats.org/officeDocument/2006/relationships/slideLayout" Target="../slideLayouts/slideLayout42.xml"/><Relationship Id="rId43" Type="http://schemas.openxmlformats.org/officeDocument/2006/relationships/slideLayout" Target="../slideLayouts/slideLayout50.xml"/><Relationship Id="rId48" Type="http://schemas.openxmlformats.org/officeDocument/2006/relationships/slideLayout" Target="../slideLayouts/slideLayout55.xml"/><Relationship Id="rId56" Type="http://schemas.openxmlformats.org/officeDocument/2006/relationships/slideLayout" Target="../slideLayouts/slideLayout63.xml"/><Relationship Id="rId64" Type="http://schemas.openxmlformats.org/officeDocument/2006/relationships/slideLayout" Target="../slideLayouts/slideLayout71.xml"/><Relationship Id="rId69" Type="http://schemas.openxmlformats.org/officeDocument/2006/relationships/slideLayout" Target="../slideLayouts/slideLayout76.xml"/><Relationship Id="rId77" Type="http://schemas.openxmlformats.org/officeDocument/2006/relationships/slideLayout" Target="../slideLayouts/slideLayout84.xml"/><Relationship Id="rId8" Type="http://schemas.openxmlformats.org/officeDocument/2006/relationships/slideLayout" Target="../slideLayouts/slideLayout15.xml"/><Relationship Id="rId51" Type="http://schemas.openxmlformats.org/officeDocument/2006/relationships/slideLayout" Target="../slideLayouts/slideLayout58.xml"/><Relationship Id="rId72" Type="http://schemas.openxmlformats.org/officeDocument/2006/relationships/slideLayout" Target="../slideLayouts/slideLayout79.xml"/><Relationship Id="rId80" Type="http://schemas.openxmlformats.org/officeDocument/2006/relationships/slideLayout" Target="../slideLayouts/slideLayout87.xml"/><Relationship Id="rId85" Type="http://schemas.openxmlformats.org/officeDocument/2006/relationships/slideLayout" Target="../slideLayouts/slideLayout92.xml"/><Relationship Id="rId93" Type="http://schemas.openxmlformats.org/officeDocument/2006/relationships/tags" Target="../tags/tag14.xml"/><Relationship Id="rId98" Type="http://schemas.openxmlformats.org/officeDocument/2006/relationships/image" Target="../media/image3.emf"/><Relationship Id="rId3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9.xml"/><Relationship Id="rId17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32.xml"/><Relationship Id="rId33" Type="http://schemas.openxmlformats.org/officeDocument/2006/relationships/slideLayout" Target="../slideLayouts/slideLayout40.xml"/><Relationship Id="rId38" Type="http://schemas.openxmlformats.org/officeDocument/2006/relationships/slideLayout" Target="../slideLayouts/slideLayout45.xml"/><Relationship Id="rId46" Type="http://schemas.openxmlformats.org/officeDocument/2006/relationships/slideLayout" Target="../slideLayouts/slideLayout53.xml"/><Relationship Id="rId59" Type="http://schemas.openxmlformats.org/officeDocument/2006/relationships/slideLayout" Target="../slideLayouts/slideLayout66.xml"/><Relationship Id="rId67" Type="http://schemas.openxmlformats.org/officeDocument/2006/relationships/slideLayout" Target="../slideLayouts/slideLayout74.xml"/><Relationship Id="rId20" Type="http://schemas.openxmlformats.org/officeDocument/2006/relationships/slideLayout" Target="../slideLayouts/slideLayout27.xml"/><Relationship Id="rId41" Type="http://schemas.openxmlformats.org/officeDocument/2006/relationships/slideLayout" Target="../slideLayouts/slideLayout48.xml"/><Relationship Id="rId54" Type="http://schemas.openxmlformats.org/officeDocument/2006/relationships/slideLayout" Target="../slideLayouts/slideLayout61.xml"/><Relationship Id="rId62" Type="http://schemas.openxmlformats.org/officeDocument/2006/relationships/slideLayout" Target="../slideLayouts/slideLayout69.xml"/><Relationship Id="rId70" Type="http://schemas.openxmlformats.org/officeDocument/2006/relationships/slideLayout" Target="../slideLayouts/slideLayout77.xml"/><Relationship Id="rId75" Type="http://schemas.openxmlformats.org/officeDocument/2006/relationships/slideLayout" Target="../slideLayouts/slideLayout82.xml"/><Relationship Id="rId83" Type="http://schemas.openxmlformats.org/officeDocument/2006/relationships/slideLayout" Target="../slideLayouts/slideLayout90.xml"/><Relationship Id="rId88" Type="http://schemas.openxmlformats.org/officeDocument/2006/relationships/slideLayout" Target="../slideLayouts/slideLayout95.xml"/><Relationship Id="rId91" Type="http://schemas.openxmlformats.org/officeDocument/2006/relationships/theme" Target="../theme/theme2.xml"/><Relationship Id="rId96" Type="http://schemas.openxmlformats.org/officeDocument/2006/relationships/image" Target="../media/image1.emf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30.xml"/><Relationship Id="rId28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43.xml"/><Relationship Id="rId49" Type="http://schemas.openxmlformats.org/officeDocument/2006/relationships/slideLayout" Target="../slideLayouts/slideLayout56.xml"/><Relationship Id="rId57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17.xml"/><Relationship Id="rId31" Type="http://schemas.openxmlformats.org/officeDocument/2006/relationships/slideLayout" Target="../slideLayouts/slideLayout38.xml"/><Relationship Id="rId44" Type="http://schemas.openxmlformats.org/officeDocument/2006/relationships/slideLayout" Target="../slideLayouts/slideLayout51.xml"/><Relationship Id="rId52" Type="http://schemas.openxmlformats.org/officeDocument/2006/relationships/slideLayout" Target="../slideLayouts/slideLayout59.xml"/><Relationship Id="rId60" Type="http://schemas.openxmlformats.org/officeDocument/2006/relationships/slideLayout" Target="../slideLayouts/slideLayout67.xml"/><Relationship Id="rId65" Type="http://schemas.openxmlformats.org/officeDocument/2006/relationships/slideLayout" Target="../slideLayouts/slideLayout72.xml"/><Relationship Id="rId73" Type="http://schemas.openxmlformats.org/officeDocument/2006/relationships/slideLayout" Target="../slideLayouts/slideLayout80.xml"/><Relationship Id="rId78" Type="http://schemas.openxmlformats.org/officeDocument/2006/relationships/slideLayout" Target="../slideLayouts/slideLayout85.xml"/><Relationship Id="rId81" Type="http://schemas.openxmlformats.org/officeDocument/2006/relationships/slideLayout" Target="../slideLayouts/slideLayout88.xml"/><Relationship Id="rId86" Type="http://schemas.openxmlformats.org/officeDocument/2006/relationships/slideLayout" Target="../slideLayouts/slideLayout93.xml"/><Relationship Id="rId94" Type="http://schemas.openxmlformats.org/officeDocument/2006/relationships/tags" Target="../tags/tag15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20.xml"/><Relationship Id="rId18" Type="http://schemas.openxmlformats.org/officeDocument/2006/relationships/slideLayout" Target="../slideLayouts/slideLayout25.xml"/><Relationship Id="rId39" Type="http://schemas.openxmlformats.org/officeDocument/2006/relationships/slideLayout" Target="../slideLayouts/slideLayout46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23.xml"/><Relationship Id="rId21" Type="http://schemas.openxmlformats.org/officeDocument/2006/relationships/slideLayout" Target="../slideLayouts/slideLayout118.xml"/><Relationship Id="rId42" Type="http://schemas.openxmlformats.org/officeDocument/2006/relationships/slideLayout" Target="../slideLayouts/slideLayout139.xml"/><Relationship Id="rId47" Type="http://schemas.openxmlformats.org/officeDocument/2006/relationships/slideLayout" Target="../slideLayouts/slideLayout144.xml"/><Relationship Id="rId63" Type="http://schemas.openxmlformats.org/officeDocument/2006/relationships/slideLayout" Target="../slideLayouts/slideLayout160.xml"/><Relationship Id="rId68" Type="http://schemas.openxmlformats.org/officeDocument/2006/relationships/slideLayout" Target="../slideLayouts/slideLayout165.xml"/><Relationship Id="rId84" Type="http://schemas.openxmlformats.org/officeDocument/2006/relationships/slideLayout" Target="../slideLayouts/slideLayout181.xml"/><Relationship Id="rId89" Type="http://schemas.openxmlformats.org/officeDocument/2006/relationships/slideLayout" Target="../slideLayouts/slideLayout186.xml"/><Relationship Id="rId7" Type="http://schemas.openxmlformats.org/officeDocument/2006/relationships/slideLayout" Target="../slideLayouts/slideLayout104.xml"/><Relationship Id="rId71" Type="http://schemas.openxmlformats.org/officeDocument/2006/relationships/slideLayout" Target="../slideLayouts/slideLayout168.xml"/><Relationship Id="rId92" Type="http://schemas.openxmlformats.org/officeDocument/2006/relationships/slideLayout" Target="../slideLayouts/slideLayout189.xml"/><Relationship Id="rId2" Type="http://schemas.openxmlformats.org/officeDocument/2006/relationships/slideLayout" Target="../slideLayouts/slideLayout99.xml"/><Relationship Id="rId16" Type="http://schemas.openxmlformats.org/officeDocument/2006/relationships/slideLayout" Target="../slideLayouts/slideLayout113.xml"/><Relationship Id="rId29" Type="http://schemas.openxmlformats.org/officeDocument/2006/relationships/slideLayout" Target="../slideLayouts/slideLayout126.xml"/><Relationship Id="rId107" Type="http://schemas.openxmlformats.org/officeDocument/2006/relationships/image" Target="../media/image2.png"/><Relationship Id="rId11" Type="http://schemas.openxmlformats.org/officeDocument/2006/relationships/slideLayout" Target="../slideLayouts/slideLayout108.xml"/><Relationship Id="rId24" Type="http://schemas.openxmlformats.org/officeDocument/2006/relationships/slideLayout" Target="../slideLayouts/slideLayout121.xml"/><Relationship Id="rId32" Type="http://schemas.openxmlformats.org/officeDocument/2006/relationships/slideLayout" Target="../slideLayouts/slideLayout129.xml"/><Relationship Id="rId37" Type="http://schemas.openxmlformats.org/officeDocument/2006/relationships/slideLayout" Target="../slideLayouts/slideLayout134.xml"/><Relationship Id="rId40" Type="http://schemas.openxmlformats.org/officeDocument/2006/relationships/slideLayout" Target="../slideLayouts/slideLayout137.xml"/><Relationship Id="rId45" Type="http://schemas.openxmlformats.org/officeDocument/2006/relationships/slideLayout" Target="../slideLayouts/slideLayout142.xml"/><Relationship Id="rId53" Type="http://schemas.openxmlformats.org/officeDocument/2006/relationships/slideLayout" Target="../slideLayouts/slideLayout150.xml"/><Relationship Id="rId58" Type="http://schemas.openxmlformats.org/officeDocument/2006/relationships/slideLayout" Target="../slideLayouts/slideLayout155.xml"/><Relationship Id="rId66" Type="http://schemas.openxmlformats.org/officeDocument/2006/relationships/slideLayout" Target="../slideLayouts/slideLayout163.xml"/><Relationship Id="rId74" Type="http://schemas.openxmlformats.org/officeDocument/2006/relationships/slideLayout" Target="../slideLayouts/slideLayout171.xml"/><Relationship Id="rId79" Type="http://schemas.openxmlformats.org/officeDocument/2006/relationships/slideLayout" Target="../slideLayouts/slideLayout176.xml"/><Relationship Id="rId87" Type="http://schemas.openxmlformats.org/officeDocument/2006/relationships/slideLayout" Target="../slideLayouts/slideLayout184.xml"/><Relationship Id="rId102" Type="http://schemas.openxmlformats.org/officeDocument/2006/relationships/vmlDrawing" Target="../drawings/vmlDrawing85.vml"/><Relationship Id="rId5" Type="http://schemas.openxmlformats.org/officeDocument/2006/relationships/slideLayout" Target="../slideLayouts/slideLayout102.xml"/><Relationship Id="rId61" Type="http://schemas.openxmlformats.org/officeDocument/2006/relationships/slideLayout" Target="../slideLayouts/slideLayout158.xml"/><Relationship Id="rId82" Type="http://schemas.openxmlformats.org/officeDocument/2006/relationships/slideLayout" Target="../slideLayouts/slideLayout179.xml"/><Relationship Id="rId90" Type="http://schemas.openxmlformats.org/officeDocument/2006/relationships/slideLayout" Target="../slideLayouts/slideLayout187.xml"/><Relationship Id="rId95" Type="http://schemas.openxmlformats.org/officeDocument/2006/relationships/slideLayout" Target="../slideLayouts/slideLayout192.xml"/><Relationship Id="rId19" Type="http://schemas.openxmlformats.org/officeDocument/2006/relationships/slideLayout" Target="../slideLayouts/slideLayout116.xml"/><Relationship Id="rId14" Type="http://schemas.openxmlformats.org/officeDocument/2006/relationships/slideLayout" Target="../slideLayouts/slideLayout111.xml"/><Relationship Id="rId22" Type="http://schemas.openxmlformats.org/officeDocument/2006/relationships/slideLayout" Target="../slideLayouts/slideLayout119.xml"/><Relationship Id="rId27" Type="http://schemas.openxmlformats.org/officeDocument/2006/relationships/slideLayout" Target="../slideLayouts/slideLayout124.xml"/><Relationship Id="rId30" Type="http://schemas.openxmlformats.org/officeDocument/2006/relationships/slideLayout" Target="../slideLayouts/slideLayout127.xml"/><Relationship Id="rId35" Type="http://schemas.openxmlformats.org/officeDocument/2006/relationships/slideLayout" Target="../slideLayouts/slideLayout132.xml"/><Relationship Id="rId43" Type="http://schemas.openxmlformats.org/officeDocument/2006/relationships/slideLayout" Target="../slideLayouts/slideLayout140.xml"/><Relationship Id="rId48" Type="http://schemas.openxmlformats.org/officeDocument/2006/relationships/slideLayout" Target="../slideLayouts/slideLayout145.xml"/><Relationship Id="rId56" Type="http://schemas.openxmlformats.org/officeDocument/2006/relationships/slideLayout" Target="../slideLayouts/slideLayout153.xml"/><Relationship Id="rId64" Type="http://schemas.openxmlformats.org/officeDocument/2006/relationships/slideLayout" Target="../slideLayouts/slideLayout161.xml"/><Relationship Id="rId69" Type="http://schemas.openxmlformats.org/officeDocument/2006/relationships/slideLayout" Target="../slideLayouts/slideLayout166.xml"/><Relationship Id="rId77" Type="http://schemas.openxmlformats.org/officeDocument/2006/relationships/slideLayout" Target="../slideLayouts/slideLayout174.xml"/><Relationship Id="rId100" Type="http://schemas.openxmlformats.org/officeDocument/2006/relationships/slideLayout" Target="../slideLayouts/slideLayout197.xml"/><Relationship Id="rId105" Type="http://schemas.openxmlformats.org/officeDocument/2006/relationships/oleObject" Target="../embeddings/oleObject21.bin"/><Relationship Id="rId8" Type="http://schemas.openxmlformats.org/officeDocument/2006/relationships/slideLayout" Target="../slideLayouts/slideLayout105.xml"/><Relationship Id="rId51" Type="http://schemas.openxmlformats.org/officeDocument/2006/relationships/slideLayout" Target="../slideLayouts/slideLayout148.xml"/><Relationship Id="rId72" Type="http://schemas.openxmlformats.org/officeDocument/2006/relationships/slideLayout" Target="../slideLayouts/slideLayout169.xml"/><Relationship Id="rId80" Type="http://schemas.openxmlformats.org/officeDocument/2006/relationships/slideLayout" Target="../slideLayouts/slideLayout177.xml"/><Relationship Id="rId85" Type="http://schemas.openxmlformats.org/officeDocument/2006/relationships/slideLayout" Target="../slideLayouts/slideLayout182.xml"/><Relationship Id="rId93" Type="http://schemas.openxmlformats.org/officeDocument/2006/relationships/slideLayout" Target="../slideLayouts/slideLayout190.xml"/><Relationship Id="rId98" Type="http://schemas.openxmlformats.org/officeDocument/2006/relationships/slideLayout" Target="../slideLayouts/slideLayout195.xml"/><Relationship Id="rId3" Type="http://schemas.openxmlformats.org/officeDocument/2006/relationships/slideLayout" Target="../slideLayouts/slideLayout100.xml"/><Relationship Id="rId12" Type="http://schemas.openxmlformats.org/officeDocument/2006/relationships/slideLayout" Target="../slideLayouts/slideLayout109.xml"/><Relationship Id="rId17" Type="http://schemas.openxmlformats.org/officeDocument/2006/relationships/slideLayout" Target="../slideLayouts/slideLayout114.xml"/><Relationship Id="rId25" Type="http://schemas.openxmlformats.org/officeDocument/2006/relationships/slideLayout" Target="../slideLayouts/slideLayout122.xml"/><Relationship Id="rId33" Type="http://schemas.openxmlformats.org/officeDocument/2006/relationships/slideLayout" Target="../slideLayouts/slideLayout130.xml"/><Relationship Id="rId38" Type="http://schemas.openxmlformats.org/officeDocument/2006/relationships/slideLayout" Target="../slideLayouts/slideLayout135.xml"/><Relationship Id="rId46" Type="http://schemas.openxmlformats.org/officeDocument/2006/relationships/slideLayout" Target="../slideLayouts/slideLayout143.xml"/><Relationship Id="rId59" Type="http://schemas.openxmlformats.org/officeDocument/2006/relationships/slideLayout" Target="../slideLayouts/slideLayout156.xml"/><Relationship Id="rId67" Type="http://schemas.openxmlformats.org/officeDocument/2006/relationships/slideLayout" Target="../slideLayouts/slideLayout164.xml"/><Relationship Id="rId103" Type="http://schemas.openxmlformats.org/officeDocument/2006/relationships/tags" Target="../tags/tag164.xml"/><Relationship Id="rId108" Type="http://schemas.openxmlformats.org/officeDocument/2006/relationships/image" Target="../media/image3.emf"/><Relationship Id="rId20" Type="http://schemas.openxmlformats.org/officeDocument/2006/relationships/slideLayout" Target="../slideLayouts/slideLayout117.xml"/><Relationship Id="rId41" Type="http://schemas.openxmlformats.org/officeDocument/2006/relationships/slideLayout" Target="../slideLayouts/slideLayout138.xml"/><Relationship Id="rId54" Type="http://schemas.openxmlformats.org/officeDocument/2006/relationships/slideLayout" Target="../slideLayouts/slideLayout151.xml"/><Relationship Id="rId62" Type="http://schemas.openxmlformats.org/officeDocument/2006/relationships/slideLayout" Target="../slideLayouts/slideLayout159.xml"/><Relationship Id="rId70" Type="http://schemas.openxmlformats.org/officeDocument/2006/relationships/slideLayout" Target="../slideLayouts/slideLayout167.xml"/><Relationship Id="rId75" Type="http://schemas.openxmlformats.org/officeDocument/2006/relationships/slideLayout" Target="../slideLayouts/slideLayout172.xml"/><Relationship Id="rId83" Type="http://schemas.openxmlformats.org/officeDocument/2006/relationships/slideLayout" Target="../slideLayouts/slideLayout180.xml"/><Relationship Id="rId88" Type="http://schemas.openxmlformats.org/officeDocument/2006/relationships/slideLayout" Target="../slideLayouts/slideLayout185.xml"/><Relationship Id="rId91" Type="http://schemas.openxmlformats.org/officeDocument/2006/relationships/slideLayout" Target="../slideLayouts/slideLayout188.xml"/><Relationship Id="rId96" Type="http://schemas.openxmlformats.org/officeDocument/2006/relationships/slideLayout" Target="../slideLayouts/slideLayout193.xml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5" Type="http://schemas.openxmlformats.org/officeDocument/2006/relationships/slideLayout" Target="../slideLayouts/slideLayout112.xml"/><Relationship Id="rId23" Type="http://schemas.openxmlformats.org/officeDocument/2006/relationships/slideLayout" Target="../slideLayouts/slideLayout120.xml"/><Relationship Id="rId28" Type="http://schemas.openxmlformats.org/officeDocument/2006/relationships/slideLayout" Target="../slideLayouts/slideLayout125.xml"/><Relationship Id="rId36" Type="http://schemas.openxmlformats.org/officeDocument/2006/relationships/slideLayout" Target="../slideLayouts/slideLayout133.xml"/><Relationship Id="rId49" Type="http://schemas.openxmlformats.org/officeDocument/2006/relationships/slideLayout" Target="../slideLayouts/slideLayout146.xml"/><Relationship Id="rId57" Type="http://schemas.openxmlformats.org/officeDocument/2006/relationships/slideLayout" Target="../slideLayouts/slideLayout154.xml"/><Relationship Id="rId106" Type="http://schemas.openxmlformats.org/officeDocument/2006/relationships/image" Target="../media/image1.emf"/><Relationship Id="rId10" Type="http://schemas.openxmlformats.org/officeDocument/2006/relationships/slideLayout" Target="../slideLayouts/slideLayout107.xml"/><Relationship Id="rId31" Type="http://schemas.openxmlformats.org/officeDocument/2006/relationships/slideLayout" Target="../slideLayouts/slideLayout128.xml"/><Relationship Id="rId44" Type="http://schemas.openxmlformats.org/officeDocument/2006/relationships/slideLayout" Target="../slideLayouts/slideLayout141.xml"/><Relationship Id="rId52" Type="http://schemas.openxmlformats.org/officeDocument/2006/relationships/slideLayout" Target="../slideLayouts/slideLayout149.xml"/><Relationship Id="rId60" Type="http://schemas.openxmlformats.org/officeDocument/2006/relationships/slideLayout" Target="../slideLayouts/slideLayout157.xml"/><Relationship Id="rId65" Type="http://schemas.openxmlformats.org/officeDocument/2006/relationships/slideLayout" Target="../slideLayouts/slideLayout162.xml"/><Relationship Id="rId73" Type="http://schemas.openxmlformats.org/officeDocument/2006/relationships/slideLayout" Target="../slideLayouts/slideLayout170.xml"/><Relationship Id="rId78" Type="http://schemas.openxmlformats.org/officeDocument/2006/relationships/slideLayout" Target="../slideLayouts/slideLayout175.xml"/><Relationship Id="rId81" Type="http://schemas.openxmlformats.org/officeDocument/2006/relationships/slideLayout" Target="../slideLayouts/slideLayout178.xml"/><Relationship Id="rId86" Type="http://schemas.openxmlformats.org/officeDocument/2006/relationships/slideLayout" Target="../slideLayouts/slideLayout183.xml"/><Relationship Id="rId94" Type="http://schemas.openxmlformats.org/officeDocument/2006/relationships/slideLayout" Target="../slideLayouts/slideLayout191.xml"/><Relationship Id="rId99" Type="http://schemas.openxmlformats.org/officeDocument/2006/relationships/slideLayout" Target="../slideLayouts/slideLayout196.xml"/><Relationship Id="rId101" Type="http://schemas.openxmlformats.org/officeDocument/2006/relationships/theme" Target="../theme/theme3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3" Type="http://schemas.openxmlformats.org/officeDocument/2006/relationships/slideLayout" Target="../slideLayouts/slideLayout110.xml"/><Relationship Id="rId18" Type="http://schemas.openxmlformats.org/officeDocument/2006/relationships/slideLayout" Target="../slideLayouts/slideLayout115.xml"/><Relationship Id="rId39" Type="http://schemas.openxmlformats.org/officeDocument/2006/relationships/slideLayout" Target="../slideLayouts/slideLayout136.xml"/><Relationship Id="rId34" Type="http://schemas.openxmlformats.org/officeDocument/2006/relationships/slideLayout" Target="../slideLayouts/slideLayout131.xml"/><Relationship Id="rId50" Type="http://schemas.openxmlformats.org/officeDocument/2006/relationships/slideLayout" Target="../slideLayouts/slideLayout147.xml"/><Relationship Id="rId55" Type="http://schemas.openxmlformats.org/officeDocument/2006/relationships/slideLayout" Target="../slideLayouts/slideLayout152.xml"/><Relationship Id="rId76" Type="http://schemas.openxmlformats.org/officeDocument/2006/relationships/slideLayout" Target="../slideLayouts/slideLayout173.xml"/><Relationship Id="rId97" Type="http://schemas.openxmlformats.org/officeDocument/2006/relationships/slideLayout" Target="../slideLayouts/slideLayout194.xml"/><Relationship Id="rId104" Type="http://schemas.openxmlformats.org/officeDocument/2006/relationships/tags" Target="../tags/tag16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200.xml"/><Relationship Id="rId7" Type="http://schemas.openxmlformats.org/officeDocument/2006/relationships/slideLayout" Target="../slideLayouts/slideLayout204.xml"/><Relationship Id="rId12" Type="http://schemas.openxmlformats.org/officeDocument/2006/relationships/oleObject" Target="../embeddings/oleObject69.bin"/><Relationship Id="rId2" Type="http://schemas.openxmlformats.org/officeDocument/2006/relationships/slideLayout" Target="../slideLayouts/slideLayout199.xml"/><Relationship Id="rId1" Type="http://schemas.openxmlformats.org/officeDocument/2006/relationships/slideLayout" Target="../slideLayouts/slideLayout198.xml"/><Relationship Id="rId6" Type="http://schemas.openxmlformats.org/officeDocument/2006/relationships/slideLayout" Target="../slideLayouts/slideLayout203.xml"/><Relationship Id="rId11" Type="http://schemas.openxmlformats.org/officeDocument/2006/relationships/tags" Target="../tags/tag317.xml"/><Relationship Id="rId5" Type="http://schemas.openxmlformats.org/officeDocument/2006/relationships/slideLayout" Target="../slideLayouts/slideLayout202.xml"/><Relationship Id="rId15" Type="http://schemas.openxmlformats.org/officeDocument/2006/relationships/image" Target="../media/image3.emf"/><Relationship Id="rId10" Type="http://schemas.openxmlformats.org/officeDocument/2006/relationships/tags" Target="../tags/tag316.xml"/><Relationship Id="rId4" Type="http://schemas.openxmlformats.org/officeDocument/2006/relationships/slideLayout" Target="../slideLayouts/slideLayout201.xml"/><Relationship Id="rId9" Type="http://schemas.openxmlformats.org/officeDocument/2006/relationships/vmlDrawing" Target="../drawings/vmlDrawing163.vml"/><Relationship Id="rId14" Type="http://schemas.openxmlformats.org/officeDocument/2006/relationships/image" Target="../media/image24.png"/></Relationships>
</file>

<file path=ppt/slideMasters/_rels/slideMaster5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30.xml"/><Relationship Id="rId21" Type="http://schemas.openxmlformats.org/officeDocument/2006/relationships/slideLayout" Target="../slideLayouts/slideLayout225.xml"/><Relationship Id="rId42" Type="http://schemas.openxmlformats.org/officeDocument/2006/relationships/slideLayout" Target="../slideLayouts/slideLayout246.xml"/><Relationship Id="rId47" Type="http://schemas.openxmlformats.org/officeDocument/2006/relationships/slideLayout" Target="../slideLayouts/slideLayout251.xml"/><Relationship Id="rId63" Type="http://schemas.openxmlformats.org/officeDocument/2006/relationships/slideLayout" Target="../slideLayouts/slideLayout267.xml"/><Relationship Id="rId68" Type="http://schemas.openxmlformats.org/officeDocument/2006/relationships/slideLayout" Target="../slideLayouts/slideLayout272.xml"/><Relationship Id="rId84" Type="http://schemas.openxmlformats.org/officeDocument/2006/relationships/slideLayout" Target="../slideLayouts/slideLayout288.xml"/><Relationship Id="rId89" Type="http://schemas.openxmlformats.org/officeDocument/2006/relationships/slideLayout" Target="../slideLayouts/slideLayout293.xml"/><Relationship Id="rId7" Type="http://schemas.openxmlformats.org/officeDocument/2006/relationships/slideLayout" Target="../slideLayouts/slideLayout211.xml"/><Relationship Id="rId71" Type="http://schemas.openxmlformats.org/officeDocument/2006/relationships/slideLayout" Target="../slideLayouts/slideLayout275.xml"/><Relationship Id="rId92" Type="http://schemas.openxmlformats.org/officeDocument/2006/relationships/slideLayout" Target="../slideLayouts/slideLayout296.xml"/><Relationship Id="rId2" Type="http://schemas.openxmlformats.org/officeDocument/2006/relationships/slideLayout" Target="../slideLayouts/slideLayout206.xml"/><Relationship Id="rId16" Type="http://schemas.openxmlformats.org/officeDocument/2006/relationships/slideLayout" Target="../slideLayouts/slideLayout220.xml"/><Relationship Id="rId29" Type="http://schemas.openxmlformats.org/officeDocument/2006/relationships/slideLayout" Target="../slideLayouts/slideLayout233.xml"/><Relationship Id="rId11" Type="http://schemas.openxmlformats.org/officeDocument/2006/relationships/slideLayout" Target="../slideLayouts/slideLayout215.xml"/><Relationship Id="rId24" Type="http://schemas.openxmlformats.org/officeDocument/2006/relationships/slideLayout" Target="../slideLayouts/slideLayout228.xml"/><Relationship Id="rId32" Type="http://schemas.openxmlformats.org/officeDocument/2006/relationships/slideLayout" Target="../slideLayouts/slideLayout236.xml"/><Relationship Id="rId37" Type="http://schemas.openxmlformats.org/officeDocument/2006/relationships/slideLayout" Target="../slideLayouts/slideLayout241.xml"/><Relationship Id="rId40" Type="http://schemas.openxmlformats.org/officeDocument/2006/relationships/slideLayout" Target="../slideLayouts/slideLayout244.xml"/><Relationship Id="rId45" Type="http://schemas.openxmlformats.org/officeDocument/2006/relationships/slideLayout" Target="../slideLayouts/slideLayout249.xml"/><Relationship Id="rId53" Type="http://schemas.openxmlformats.org/officeDocument/2006/relationships/slideLayout" Target="../slideLayouts/slideLayout257.xml"/><Relationship Id="rId58" Type="http://schemas.openxmlformats.org/officeDocument/2006/relationships/slideLayout" Target="../slideLayouts/slideLayout262.xml"/><Relationship Id="rId66" Type="http://schemas.openxmlformats.org/officeDocument/2006/relationships/slideLayout" Target="../slideLayouts/slideLayout270.xml"/><Relationship Id="rId74" Type="http://schemas.openxmlformats.org/officeDocument/2006/relationships/slideLayout" Target="../slideLayouts/slideLayout278.xml"/><Relationship Id="rId79" Type="http://schemas.openxmlformats.org/officeDocument/2006/relationships/slideLayout" Target="../slideLayouts/slideLayout283.xml"/><Relationship Id="rId87" Type="http://schemas.openxmlformats.org/officeDocument/2006/relationships/slideLayout" Target="../slideLayouts/slideLayout291.xml"/><Relationship Id="rId102" Type="http://schemas.openxmlformats.org/officeDocument/2006/relationships/tags" Target="../tags/tag329.xml"/><Relationship Id="rId5" Type="http://schemas.openxmlformats.org/officeDocument/2006/relationships/slideLayout" Target="../slideLayouts/slideLayout209.xml"/><Relationship Id="rId61" Type="http://schemas.openxmlformats.org/officeDocument/2006/relationships/slideLayout" Target="../slideLayouts/slideLayout265.xml"/><Relationship Id="rId82" Type="http://schemas.openxmlformats.org/officeDocument/2006/relationships/slideLayout" Target="../slideLayouts/slideLayout286.xml"/><Relationship Id="rId90" Type="http://schemas.openxmlformats.org/officeDocument/2006/relationships/slideLayout" Target="../slideLayouts/slideLayout294.xml"/><Relationship Id="rId95" Type="http://schemas.openxmlformats.org/officeDocument/2006/relationships/slideLayout" Target="../slideLayouts/slideLayout299.xml"/><Relationship Id="rId19" Type="http://schemas.openxmlformats.org/officeDocument/2006/relationships/slideLayout" Target="../slideLayouts/slideLayout223.xml"/><Relationship Id="rId14" Type="http://schemas.openxmlformats.org/officeDocument/2006/relationships/slideLayout" Target="../slideLayouts/slideLayout218.xml"/><Relationship Id="rId22" Type="http://schemas.openxmlformats.org/officeDocument/2006/relationships/slideLayout" Target="../slideLayouts/slideLayout226.xml"/><Relationship Id="rId27" Type="http://schemas.openxmlformats.org/officeDocument/2006/relationships/slideLayout" Target="../slideLayouts/slideLayout231.xml"/><Relationship Id="rId30" Type="http://schemas.openxmlformats.org/officeDocument/2006/relationships/slideLayout" Target="../slideLayouts/slideLayout234.xml"/><Relationship Id="rId35" Type="http://schemas.openxmlformats.org/officeDocument/2006/relationships/slideLayout" Target="../slideLayouts/slideLayout239.xml"/><Relationship Id="rId43" Type="http://schemas.openxmlformats.org/officeDocument/2006/relationships/slideLayout" Target="../slideLayouts/slideLayout247.xml"/><Relationship Id="rId48" Type="http://schemas.openxmlformats.org/officeDocument/2006/relationships/slideLayout" Target="../slideLayouts/slideLayout252.xml"/><Relationship Id="rId56" Type="http://schemas.openxmlformats.org/officeDocument/2006/relationships/slideLayout" Target="../slideLayouts/slideLayout260.xml"/><Relationship Id="rId64" Type="http://schemas.openxmlformats.org/officeDocument/2006/relationships/slideLayout" Target="../slideLayouts/slideLayout268.xml"/><Relationship Id="rId69" Type="http://schemas.openxmlformats.org/officeDocument/2006/relationships/slideLayout" Target="../slideLayouts/slideLayout273.xml"/><Relationship Id="rId77" Type="http://schemas.openxmlformats.org/officeDocument/2006/relationships/slideLayout" Target="../slideLayouts/slideLayout281.xml"/><Relationship Id="rId100" Type="http://schemas.openxmlformats.org/officeDocument/2006/relationships/vmlDrawing" Target="../drawings/vmlDrawing169.vml"/><Relationship Id="rId105" Type="http://schemas.openxmlformats.org/officeDocument/2006/relationships/image" Target="../media/image9.png"/><Relationship Id="rId8" Type="http://schemas.openxmlformats.org/officeDocument/2006/relationships/slideLayout" Target="../slideLayouts/slideLayout212.xml"/><Relationship Id="rId51" Type="http://schemas.openxmlformats.org/officeDocument/2006/relationships/slideLayout" Target="../slideLayouts/slideLayout255.xml"/><Relationship Id="rId72" Type="http://schemas.openxmlformats.org/officeDocument/2006/relationships/slideLayout" Target="../slideLayouts/slideLayout276.xml"/><Relationship Id="rId80" Type="http://schemas.openxmlformats.org/officeDocument/2006/relationships/slideLayout" Target="../slideLayouts/slideLayout284.xml"/><Relationship Id="rId85" Type="http://schemas.openxmlformats.org/officeDocument/2006/relationships/slideLayout" Target="../slideLayouts/slideLayout289.xml"/><Relationship Id="rId93" Type="http://schemas.openxmlformats.org/officeDocument/2006/relationships/slideLayout" Target="../slideLayouts/slideLayout297.xml"/><Relationship Id="rId98" Type="http://schemas.openxmlformats.org/officeDocument/2006/relationships/slideLayout" Target="../slideLayouts/slideLayout302.xml"/><Relationship Id="rId3" Type="http://schemas.openxmlformats.org/officeDocument/2006/relationships/slideLayout" Target="../slideLayouts/slideLayout207.xml"/><Relationship Id="rId12" Type="http://schemas.openxmlformats.org/officeDocument/2006/relationships/slideLayout" Target="../slideLayouts/slideLayout216.xml"/><Relationship Id="rId17" Type="http://schemas.openxmlformats.org/officeDocument/2006/relationships/slideLayout" Target="../slideLayouts/slideLayout221.xml"/><Relationship Id="rId25" Type="http://schemas.openxmlformats.org/officeDocument/2006/relationships/slideLayout" Target="../slideLayouts/slideLayout229.xml"/><Relationship Id="rId33" Type="http://schemas.openxmlformats.org/officeDocument/2006/relationships/slideLayout" Target="../slideLayouts/slideLayout237.xml"/><Relationship Id="rId38" Type="http://schemas.openxmlformats.org/officeDocument/2006/relationships/slideLayout" Target="../slideLayouts/slideLayout242.xml"/><Relationship Id="rId46" Type="http://schemas.openxmlformats.org/officeDocument/2006/relationships/slideLayout" Target="../slideLayouts/slideLayout250.xml"/><Relationship Id="rId59" Type="http://schemas.openxmlformats.org/officeDocument/2006/relationships/slideLayout" Target="../slideLayouts/slideLayout263.xml"/><Relationship Id="rId67" Type="http://schemas.openxmlformats.org/officeDocument/2006/relationships/slideLayout" Target="../slideLayouts/slideLayout271.xml"/><Relationship Id="rId103" Type="http://schemas.openxmlformats.org/officeDocument/2006/relationships/oleObject" Target="../embeddings/oleObject74.bin"/><Relationship Id="rId20" Type="http://schemas.openxmlformats.org/officeDocument/2006/relationships/slideLayout" Target="../slideLayouts/slideLayout224.xml"/><Relationship Id="rId41" Type="http://schemas.openxmlformats.org/officeDocument/2006/relationships/slideLayout" Target="../slideLayouts/slideLayout245.xml"/><Relationship Id="rId54" Type="http://schemas.openxmlformats.org/officeDocument/2006/relationships/slideLayout" Target="../slideLayouts/slideLayout258.xml"/><Relationship Id="rId62" Type="http://schemas.openxmlformats.org/officeDocument/2006/relationships/slideLayout" Target="../slideLayouts/slideLayout266.xml"/><Relationship Id="rId70" Type="http://schemas.openxmlformats.org/officeDocument/2006/relationships/slideLayout" Target="../slideLayouts/slideLayout274.xml"/><Relationship Id="rId75" Type="http://schemas.openxmlformats.org/officeDocument/2006/relationships/slideLayout" Target="../slideLayouts/slideLayout279.xml"/><Relationship Id="rId83" Type="http://schemas.openxmlformats.org/officeDocument/2006/relationships/slideLayout" Target="../slideLayouts/slideLayout287.xml"/><Relationship Id="rId88" Type="http://schemas.openxmlformats.org/officeDocument/2006/relationships/slideLayout" Target="../slideLayouts/slideLayout292.xml"/><Relationship Id="rId91" Type="http://schemas.openxmlformats.org/officeDocument/2006/relationships/slideLayout" Target="../slideLayouts/slideLayout295.xml"/><Relationship Id="rId96" Type="http://schemas.openxmlformats.org/officeDocument/2006/relationships/slideLayout" Target="../slideLayouts/slideLayout300.xml"/><Relationship Id="rId1" Type="http://schemas.openxmlformats.org/officeDocument/2006/relationships/slideLayout" Target="../slideLayouts/slideLayout205.xml"/><Relationship Id="rId6" Type="http://schemas.openxmlformats.org/officeDocument/2006/relationships/slideLayout" Target="../slideLayouts/slideLayout210.xml"/><Relationship Id="rId15" Type="http://schemas.openxmlformats.org/officeDocument/2006/relationships/slideLayout" Target="../slideLayouts/slideLayout219.xml"/><Relationship Id="rId23" Type="http://schemas.openxmlformats.org/officeDocument/2006/relationships/slideLayout" Target="../slideLayouts/slideLayout227.xml"/><Relationship Id="rId28" Type="http://schemas.openxmlformats.org/officeDocument/2006/relationships/slideLayout" Target="../slideLayouts/slideLayout232.xml"/><Relationship Id="rId36" Type="http://schemas.openxmlformats.org/officeDocument/2006/relationships/slideLayout" Target="../slideLayouts/slideLayout240.xml"/><Relationship Id="rId49" Type="http://schemas.openxmlformats.org/officeDocument/2006/relationships/slideLayout" Target="../slideLayouts/slideLayout253.xml"/><Relationship Id="rId57" Type="http://schemas.openxmlformats.org/officeDocument/2006/relationships/slideLayout" Target="../slideLayouts/slideLayout261.xml"/><Relationship Id="rId106" Type="http://schemas.openxmlformats.org/officeDocument/2006/relationships/image" Target="../media/image3.emf"/><Relationship Id="rId10" Type="http://schemas.openxmlformats.org/officeDocument/2006/relationships/slideLayout" Target="../slideLayouts/slideLayout214.xml"/><Relationship Id="rId31" Type="http://schemas.openxmlformats.org/officeDocument/2006/relationships/slideLayout" Target="../slideLayouts/slideLayout235.xml"/><Relationship Id="rId44" Type="http://schemas.openxmlformats.org/officeDocument/2006/relationships/slideLayout" Target="../slideLayouts/slideLayout248.xml"/><Relationship Id="rId52" Type="http://schemas.openxmlformats.org/officeDocument/2006/relationships/slideLayout" Target="../slideLayouts/slideLayout256.xml"/><Relationship Id="rId60" Type="http://schemas.openxmlformats.org/officeDocument/2006/relationships/slideLayout" Target="../slideLayouts/slideLayout264.xml"/><Relationship Id="rId65" Type="http://schemas.openxmlformats.org/officeDocument/2006/relationships/slideLayout" Target="../slideLayouts/slideLayout269.xml"/><Relationship Id="rId73" Type="http://schemas.openxmlformats.org/officeDocument/2006/relationships/slideLayout" Target="../slideLayouts/slideLayout277.xml"/><Relationship Id="rId78" Type="http://schemas.openxmlformats.org/officeDocument/2006/relationships/slideLayout" Target="../slideLayouts/slideLayout282.xml"/><Relationship Id="rId81" Type="http://schemas.openxmlformats.org/officeDocument/2006/relationships/slideLayout" Target="../slideLayouts/slideLayout285.xml"/><Relationship Id="rId86" Type="http://schemas.openxmlformats.org/officeDocument/2006/relationships/slideLayout" Target="../slideLayouts/slideLayout290.xml"/><Relationship Id="rId94" Type="http://schemas.openxmlformats.org/officeDocument/2006/relationships/slideLayout" Target="../slideLayouts/slideLayout298.xml"/><Relationship Id="rId99" Type="http://schemas.openxmlformats.org/officeDocument/2006/relationships/theme" Target="../theme/theme5.xml"/><Relationship Id="rId101" Type="http://schemas.openxmlformats.org/officeDocument/2006/relationships/tags" Target="../tags/tag328.xml"/><Relationship Id="rId4" Type="http://schemas.openxmlformats.org/officeDocument/2006/relationships/slideLayout" Target="../slideLayouts/slideLayout208.xml"/><Relationship Id="rId9" Type="http://schemas.openxmlformats.org/officeDocument/2006/relationships/slideLayout" Target="../slideLayouts/slideLayout213.xml"/><Relationship Id="rId13" Type="http://schemas.openxmlformats.org/officeDocument/2006/relationships/slideLayout" Target="../slideLayouts/slideLayout217.xml"/><Relationship Id="rId18" Type="http://schemas.openxmlformats.org/officeDocument/2006/relationships/slideLayout" Target="../slideLayouts/slideLayout222.xml"/><Relationship Id="rId39" Type="http://schemas.openxmlformats.org/officeDocument/2006/relationships/slideLayout" Target="../slideLayouts/slideLayout243.xml"/><Relationship Id="rId34" Type="http://schemas.openxmlformats.org/officeDocument/2006/relationships/slideLayout" Target="../slideLayouts/slideLayout238.xml"/><Relationship Id="rId50" Type="http://schemas.openxmlformats.org/officeDocument/2006/relationships/slideLayout" Target="../slideLayouts/slideLayout254.xml"/><Relationship Id="rId55" Type="http://schemas.openxmlformats.org/officeDocument/2006/relationships/slideLayout" Target="../slideLayouts/slideLayout259.xml"/><Relationship Id="rId76" Type="http://schemas.openxmlformats.org/officeDocument/2006/relationships/slideLayout" Target="../slideLayouts/slideLayout280.xml"/><Relationship Id="rId97" Type="http://schemas.openxmlformats.org/officeDocument/2006/relationships/slideLayout" Target="../slideLayouts/slideLayout301.xml"/><Relationship Id="rId10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53EA1CA7-6A4B-4525-B31A-79FD8A5011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3" name="Diapositive think-cell" r:id="rId12" imgW="532" imgH="530" progId="TCLayout.ActiveDocument.1">
                  <p:embed/>
                </p:oleObj>
              </mc:Choice>
              <mc:Fallback>
                <p:oleObj name="Diapositive think-cell" r:id="rId12" imgW="532" imgH="530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53EA1CA7-6A4B-4525-B31A-79FD8A5011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56D049D-4B41-45FE-A1DE-AB458A6C5C72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51F5451-CC20-46A2-802F-F9D60C2A6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480131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/>
          <a:p>
            <a:r>
              <a:rPr lang="en-GB"/>
              <a:t>TITLE OF THE SLID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1F54BE0-878D-4EDE-9290-206FC15489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4786" y="1808820"/>
            <a:ext cx="11382428" cy="386808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2FC3E58-D3FF-4715-9A44-E12BDE0AE0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1">
                <a:solidFill>
                  <a:schemeClr val="bg2">
                    <a:lumMod val="75000"/>
                  </a:schemeClr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14F23E25-9FFE-4257-90E6-350B5249631F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© Ipsos | Respect Context or Fail – How to adapt to context in Digital platforms to grow your brand</a:t>
            </a: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11C5A540-F007-4FEB-B81F-D7A7222E2502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75567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693" r:id="rId2"/>
    <p:sldLayoutId id="2147483696" r:id="rId3"/>
    <p:sldLayoutId id="2147483741" r:id="rId4"/>
    <p:sldLayoutId id="2147483778" r:id="rId5"/>
    <p:sldLayoutId id="2147483769" r:id="rId6"/>
    <p:sldLayoutId id="2147483771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spc="120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5725" indent="-85725" algn="l" defTabSz="914400" rtl="0" eaLnBrk="1" latinLnBrk="0" hangingPunct="1">
        <a:lnSpc>
          <a:spcPct val="100000"/>
        </a:lnSpc>
        <a:spcBef>
          <a:spcPts val="1800"/>
        </a:spcBef>
        <a:buSzPct val="50000"/>
        <a:buFont typeface="HelveticaNeueLT Std Lt Cn" panose="020B0406020202030204" pitchFamily="34" charset="0"/>
        <a:buChar char=" 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314325" algn="l" defTabSz="914400" rtl="0" eaLnBrk="1" latinLnBrk="0" hangingPunct="1">
        <a:lnSpc>
          <a:spcPct val="100000"/>
        </a:lnSpc>
        <a:spcBef>
          <a:spcPts val="600"/>
        </a:spcBef>
        <a:buSzPct val="80000"/>
        <a:buFontTx/>
        <a:buBlip>
          <a:blip r:embed="rId15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87425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bg2"/>
          </a:solidFill>
          <a:latin typeface="+mn-lt"/>
          <a:ea typeface="+mn-ea"/>
          <a:cs typeface="+mn-cs"/>
        </a:defRPr>
      </a:lvl4pPr>
      <a:lvl5pPr marL="1262063" indent="-228600" algn="l" defTabSz="914400" rtl="0" eaLnBrk="1" latinLnBrk="0" hangingPunct="1">
        <a:lnSpc>
          <a:spcPct val="90000"/>
        </a:lnSpc>
        <a:spcBef>
          <a:spcPts val="500"/>
        </a:spcBef>
        <a:buFont typeface="HelveticaNeueLT Std Lt Cn" panose="020B0406020202030204" pitchFamily="34" charset="0"/>
        <a:buChar char="−"/>
        <a:defRPr sz="105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53EA1CA7-6A4B-4525-B31A-79FD8A5011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6" name="Diapositive think-cell" r:id="rId95" imgW="532" imgH="530" progId="TCLayout.ActiveDocument.1">
                  <p:embed/>
                </p:oleObj>
              </mc:Choice>
              <mc:Fallback>
                <p:oleObj name="Diapositive think-cell" r:id="rId95" imgW="532" imgH="530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53EA1CA7-6A4B-4525-B31A-79FD8A5011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56D049D-4B41-45FE-A1DE-AB458A6C5C72}"/>
              </a:ext>
            </a:extLst>
          </p:cNvPr>
          <p:cNvSpPr/>
          <p:nvPr userDrawn="1">
            <p:custDataLst>
              <p:tags r:id="rId9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51F5451-CC20-46A2-802F-F9D60C2A6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480131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/>
          <a:p>
            <a:r>
              <a:rPr lang="en-GB"/>
              <a:t>TITLE OF THE SLID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1F54BE0-878D-4EDE-9290-206FC15489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2FC3E58-D3FF-4715-9A44-E12BDE0AE0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1">
                <a:solidFill>
                  <a:schemeClr val="bg2">
                    <a:lumMod val="75000"/>
                  </a:schemeClr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14F23E25-9FFE-4257-90E6-350B5249631F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© Ipsos | Respect Context or Fail – How to adapt to context in Digital platforms to grow your brand</a:t>
            </a: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11C5A540-F007-4FEB-B81F-D7A7222E2502}"/>
              </a:ext>
            </a:extLst>
          </p:cNvPr>
          <p:cNvPicPr>
            <a:picLocks noChangeAspect="1"/>
          </p:cNvPicPr>
          <p:nvPr userDrawn="1"/>
        </p:nvPicPr>
        <p:blipFill>
          <a:blip r:embed="rId9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9593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874" r:id="rId4"/>
    <p:sldLayoutId id="2147483788" r:id="rId5"/>
    <p:sldLayoutId id="2147483789" r:id="rId6"/>
    <p:sldLayoutId id="2147483790" r:id="rId7"/>
    <p:sldLayoutId id="2147483791" r:id="rId8"/>
    <p:sldLayoutId id="2147483792" r:id="rId9"/>
    <p:sldLayoutId id="2147483793" r:id="rId10"/>
    <p:sldLayoutId id="2147483794" r:id="rId11"/>
    <p:sldLayoutId id="2147483795" r:id="rId12"/>
    <p:sldLayoutId id="2147483796" r:id="rId13"/>
    <p:sldLayoutId id="2147483871" r:id="rId14"/>
    <p:sldLayoutId id="2147483872" r:id="rId15"/>
    <p:sldLayoutId id="2147483873" r:id="rId16"/>
    <p:sldLayoutId id="2147483797" r:id="rId17"/>
    <p:sldLayoutId id="2147483798" r:id="rId18"/>
    <p:sldLayoutId id="2147483799" r:id="rId19"/>
    <p:sldLayoutId id="2147483800" r:id="rId20"/>
    <p:sldLayoutId id="2147483801" r:id="rId21"/>
    <p:sldLayoutId id="2147483802" r:id="rId22"/>
    <p:sldLayoutId id="2147483803" r:id="rId23"/>
    <p:sldLayoutId id="2147483804" r:id="rId24"/>
    <p:sldLayoutId id="2147483805" r:id="rId25"/>
    <p:sldLayoutId id="2147483806" r:id="rId26"/>
    <p:sldLayoutId id="2147483807" r:id="rId27"/>
    <p:sldLayoutId id="2147483808" r:id="rId28"/>
    <p:sldLayoutId id="2147483809" r:id="rId29"/>
    <p:sldLayoutId id="2147483810" r:id="rId30"/>
    <p:sldLayoutId id="2147483811" r:id="rId31"/>
    <p:sldLayoutId id="2147483812" r:id="rId32"/>
    <p:sldLayoutId id="2147483813" r:id="rId33"/>
    <p:sldLayoutId id="2147483814" r:id="rId34"/>
    <p:sldLayoutId id="2147483815" r:id="rId35"/>
    <p:sldLayoutId id="2147483816" r:id="rId36"/>
    <p:sldLayoutId id="2147483817" r:id="rId37"/>
    <p:sldLayoutId id="2147483818" r:id="rId38"/>
    <p:sldLayoutId id="2147483819" r:id="rId39"/>
    <p:sldLayoutId id="2147483820" r:id="rId40"/>
    <p:sldLayoutId id="2147483821" r:id="rId41"/>
    <p:sldLayoutId id="2147483822" r:id="rId42"/>
    <p:sldLayoutId id="2147483823" r:id="rId43"/>
    <p:sldLayoutId id="2147483824" r:id="rId44"/>
    <p:sldLayoutId id="2147483825" r:id="rId45"/>
    <p:sldLayoutId id="2147483827" r:id="rId46"/>
    <p:sldLayoutId id="2147483828" r:id="rId47"/>
    <p:sldLayoutId id="2147483829" r:id="rId48"/>
    <p:sldLayoutId id="2147483830" r:id="rId49"/>
    <p:sldLayoutId id="2147483831" r:id="rId50"/>
    <p:sldLayoutId id="2147483832" r:id="rId51"/>
    <p:sldLayoutId id="2147483833" r:id="rId52"/>
    <p:sldLayoutId id="2147483834" r:id="rId53"/>
    <p:sldLayoutId id="2147483835" r:id="rId54"/>
    <p:sldLayoutId id="2147483836" r:id="rId55"/>
    <p:sldLayoutId id="2147483837" r:id="rId56"/>
    <p:sldLayoutId id="2147483838" r:id="rId57"/>
    <p:sldLayoutId id="2147483839" r:id="rId58"/>
    <p:sldLayoutId id="2147483840" r:id="rId59"/>
    <p:sldLayoutId id="2147483841" r:id="rId60"/>
    <p:sldLayoutId id="2147483842" r:id="rId61"/>
    <p:sldLayoutId id="2147483843" r:id="rId62"/>
    <p:sldLayoutId id="2147483844" r:id="rId63"/>
    <p:sldLayoutId id="2147483845" r:id="rId64"/>
    <p:sldLayoutId id="2147483846" r:id="rId65"/>
    <p:sldLayoutId id="2147483847" r:id="rId66"/>
    <p:sldLayoutId id="2147483848" r:id="rId67"/>
    <p:sldLayoutId id="2147483849" r:id="rId68"/>
    <p:sldLayoutId id="2147483850" r:id="rId69"/>
    <p:sldLayoutId id="2147483851" r:id="rId70"/>
    <p:sldLayoutId id="2147483852" r:id="rId71"/>
    <p:sldLayoutId id="2147483853" r:id="rId72"/>
    <p:sldLayoutId id="2147483854" r:id="rId73"/>
    <p:sldLayoutId id="2147483855" r:id="rId74"/>
    <p:sldLayoutId id="2147483856" r:id="rId75"/>
    <p:sldLayoutId id="2147483857" r:id="rId76"/>
    <p:sldLayoutId id="2147483858" r:id="rId77"/>
    <p:sldLayoutId id="2147483859" r:id="rId78"/>
    <p:sldLayoutId id="2147483860" r:id="rId79"/>
    <p:sldLayoutId id="2147483861" r:id="rId80"/>
    <p:sldLayoutId id="2147483862" r:id="rId81"/>
    <p:sldLayoutId id="2147483863" r:id="rId82"/>
    <p:sldLayoutId id="2147483864" r:id="rId83"/>
    <p:sldLayoutId id="2147483865" r:id="rId84"/>
    <p:sldLayoutId id="2147483866" r:id="rId85"/>
    <p:sldLayoutId id="2147483867" r:id="rId86"/>
    <p:sldLayoutId id="2147483868" r:id="rId87"/>
    <p:sldLayoutId id="2147483869" r:id="rId88"/>
    <p:sldLayoutId id="2147483870" r:id="rId89"/>
    <p:sldLayoutId id="2147484266" r:id="rId9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spc="120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5725" indent="-85725" algn="l" defTabSz="914400" rtl="0" eaLnBrk="1" latinLnBrk="0" hangingPunct="1">
        <a:lnSpc>
          <a:spcPct val="100000"/>
        </a:lnSpc>
        <a:spcBef>
          <a:spcPts val="1800"/>
        </a:spcBef>
        <a:buSzPct val="50000"/>
        <a:buFont typeface="HelveticaNeueLT Std Lt Cn" panose="020B0406020202030204" pitchFamily="34" charset="0"/>
        <a:buChar char=" 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314325" algn="l" defTabSz="914400" rtl="0" eaLnBrk="1" latinLnBrk="0" hangingPunct="1">
        <a:lnSpc>
          <a:spcPct val="100000"/>
        </a:lnSpc>
        <a:spcBef>
          <a:spcPts val="600"/>
        </a:spcBef>
        <a:buSzPct val="80000"/>
        <a:buFontTx/>
        <a:buBlip>
          <a:blip r:embed="rId98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87425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bg2"/>
          </a:solidFill>
          <a:latin typeface="+mn-lt"/>
          <a:ea typeface="+mn-ea"/>
          <a:cs typeface="+mn-cs"/>
        </a:defRPr>
      </a:lvl4pPr>
      <a:lvl5pPr marL="1262063" indent="-228600" algn="l" defTabSz="914400" rtl="0" eaLnBrk="1" latinLnBrk="0" hangingPunct="1">
        <a:lnSpc>
          <a:spcPct val="90000"/>
        </a:lnSpc>
        <a:spcBef>
          <a:spcPts val="500"/>
        </a:spcBef>
        <a:buFont typeface="HelveticaNeueLT Std Lt Cn" panose="020B0406020202030204" pitchFamily="34" charset="0"/>
        <a:buChar char="−"/>
        <a:defRPr sz="105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53EA1CA7-6A4B-4525-B31A-79FD8A5011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79" name="Diapositive think-cell" r:id="rId105" imgW="532" imgH="530" progId="TCLayout.ActiveDocument.1">
                  <p:embed/>
                </p:oleObj>
              </mc:Choice>
              <mc:Fallback>
                <p:oleObj name="Diapositive think-cell" r:id="rId105" imgW="532" imgH="530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53EA1CA7-6A4B-4525-B31A-79FD8A5011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56D049D-4B41-45FE-A1DE-AB458A6C5C72}"/>
              </a:ext>
            </a:extLst>
          </p:cNvPr>
          <p:cNvSpPr/>
          <p:nvPr userDrawn="1">
            <p:custDataLst>
              <p:tags r:id="rId10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51F5451-CC20-46A2-802F-F9D60C2A6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480131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/>
          <a:p>
            <a:r>
              <a:rPr lang="en-GB"/>
              <a:t>TITLE OF THE SLID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1F54BE0-878D-4EDE-9290-206FC15489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4786" y="1808820"/>
            <a:ext cx="11382428" cy="386808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2FC3E58-D3FF-4715-9A44-E12BDE0AE0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1">
                <a:solidFill>
                  <a:schemeClr val="bg2">
                    <a:lumMod val="75000"/>
                  </a:schemeClr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14F23E25-9FFE-4257-90E6-350B5249631F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© Ipsos | Creative Excellence</a:t>
            </a: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11C5A540-F007-4FEB-B81F-D7A7222E2502}"/>
              </a:ext>
            </a:extLst>
          </p:cNvPr>
          <p:cNvPicPr>
            <a:picLocks noChangeAspect="1"/>
          </p:cNvPicPr>
          <p:nvPr userDrawn="1"/>
        </p:nvPicPr>
        <p:blipFill>
          <a:blip r:embed="rId10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4295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6" r:id="rId1"/>
    <p:sldLayoutId id="2147483967" r:id="rId2"/>
    <p:sldLayoutId id="2147483968" r:id="rId3"/>
    <p:sldLayoutId id="2147483969" r:id="rId4"/>
    <p:sldLayoutId id="2147483970" r:id="rId5"/>
    <p:sldLayoutId id="2147483971" r:id="rId6"/>
    <p:sldLayoutId id="2147483972" r:id="rId7"/>
    <p:sldLayoutId id="2147483973" r:id="rId8"/>
    <p:sldLayoutId id="2147483974" r:id="rId9"/>
    <p:sldLayoutId id="2147483975" r:id="rId10"/>
    <p:sldLayoutId id="2147483976" r:id="rId11"/>
    <p:sldLayoutId id="2147483977" r:id="rId12"/>
    <p:sldLayoutId id="2147483978" r:id="rId13"/>
    <p:sldLayoutId id="2147483979" r:id="rId14"/>
    <p:sldLayoutId id="2147483980" r:id="rId15"/>
    <p:sldLayoutId id="2147483981" r:id="rId16"/>
    <p:sldLayoutId id="2147483982" r:id="rId17"/>
    <p:sldLayoutId id="2147483983" r:id="rId18"/>
    <p:sldLayoutId id="2147483984" r:id="rId19"/>
    <p:sldLayoutId id="2147483985" r:id="rId20"/>
    <p:sldLayoutId id="2147483986" r:id="rId21"/>
    <p:sldLayoutId id="2147483987" r:id="rId22"/>
    <p:sldLayoutId id="2147483988" r:id="rId23"/>
    <p:sldLayoutId id="2147483989" r:id="rId24"/>
    <p:sldLayoutId id="2147483990" r:id="rId25"/>
    <p:sldLayoutId id="2147483991" r:id="rId26"/>
    <p:sldLayoutId id="2147483992" r:id="rId27"/>
    <p:sldLayoutId id="2147483993" r:id="rId28"/>
    <p:sldLayoutId id="2147483994" r:id="rId29"/>
    <p:sldLayoutId id="2147483995" r:id="rId30"/>
    <p:sldLayoutId id="2147483996" r:id="rId31"/>
    <p:sldLayoutId id="2147483997" r:id="rId32"/>
    <p:sldLayoutId id="2147483998" r:id="rId33"/>
    <p:sldLayoutId id="2147483999" r:id="rId34"/>
    <p:sldLayoutId id="2147484000" r:id="rId35"/>
    <p:sldLayoutId id="2147484001" r:id="rId36"/>
    <p:sldLayoutId id="2147484002" r:id="rId37"/>
    <p:sldLayoutId id="2147484003" r:id="rId38"/>
    <p:sldLayoutId id="2147484004" r:id="rId39"/>
    <p:sldLayoutId id="2147484005" r:id="rId40"/>
    <p:sldLayoutId id="2147484006" r:id="rId41"/>
    <p:sldLayoutId id="2147484007" r:id="rId42"/>
    <p:sldLayoutId id="2147484008" r:id="rId43"/>
    <p:sldLayoutId id="2147484009" r:id="rId44"/>
    <p:sldLayoutId id="2147484010" r:id="rId45"/>
    <p:sldLayoutId id="2147484011" r:id="rId46"/>
    <p:sldLayoutId id="2147484012" r:id="rId47"/>
    <p:sldLayoutId id="2147484013" r:id="rId48"/>
    <p:sldLayoutId id="2147484014" r:id="rId49"/>
    <p:sldLayoutId id="2147484015" r:id="rId50"/>
    <p:sldLayoutId id="2147484016" r:id="rId51"/>
    <p:sldLayoutId id="2147484017" r:id="rId52"/>
    <p:sldLayoutId id="2147484018" r:id="rId53"/>
    <p:sldLayoutId id="2147484019" r:id="rId54"/>
    <p:sldLayoutId id="2147484020" r:id="rId55"/>
    <p:sldLayoutId id="2147484021" r:id="rId56"/>
    <p:sldLayoutId id="2147484022" r:id="rId57"/>
    <p:sldLayoutId id="2147484023" r:id="rId58"/>
    <p:sldLayoutId id="2147484024" r:id="rId59"/>
    <p:sldLayoutId id="2147484025" r:id="rId60"/>
    <p:sldLayoutId id="2147484026" r:id="rId61"/>
    <p:sldLayoutId id="2147484027" r:id="rId62"/>
    <p:sldLayoutId id="2147484028" r:id="rId63"/>
    <p:sldLayoutId id="2147484029" r:id="rId64"/>
    <p:sldLayoutId id="2147484030" r:id="rId65"/>
    <p:sldLayoutId id="2147484031" r:id="rId66"/>
    <p:sldLayoutId id="2147484032" r:id="rId67"/>
    <p:sldLayoutId id="2147484033" r:id="rId68"/>
    <p:sldLayoutId id="2147484034" r:id="rId69"/>
    <p:sldLayoutId id="2147484035" r:id="rId70"/>
    <p:sldLayoutId id="2147484036" r:id="rId71"/>
    <p:sldLayoutId id="2147484037" r:id="rId72"/>
    <p:sldLayoutId id="2147484038" r:id="rId73"/>
    <p:sldLayoutId id="2147484039" r:id="rId74"/>
    <p:sldLayoutId id="2147484040" r:id="rId75"/>
    <p:sldLayoutId id="2147484041" r:id="rId76"/>
    <p:sldLayoutId id="2147484042" r:id="rId77"/>
    <p:sldLayoutId id="2147484043" r:id="rId78"/>
    <p:sldLayoutId id="2147484044" r:id="rId79"/>
    <p:sldLayoutId id="2147484045" r:id="rId80"/>
    <p:sldLayoutId id="2147484046" r:id="rId81"/>
    <p:sldLayoutId id="2147484047" r:id="rId82"/>
    <p:sldLayoutId id="2147484048" r:id="rId83"/>
    <p:sldLayoutId id="2147484049" r:id="rId84"/>
    <p:sldLayoutId id="2147484050" r:id="rId85"/>
    <p:sldLayoutId id="2147484051" r:id="rId86"/>
    <p:sldLayoutId id="2147484052" r:id="rId87"/>
    <p:sldLayoutId id="2147484053" r:id="rId88"/>
    <p:sldLayoutId id="2147484054" r:id="rId89"/>
    <p:sldLayoutId id="2147484055" r:id="rId90"/>
    <p:sldLayoutId id="2147484056" r:id="rId91"/>
    <p:sldLayoutId id="2147484057" r:id="rId92"/>
    <p:sldLayoutId id="2147484058" r:id="rId93"/>
    <p:sldLayoutId id="2147484059" r:id="rId94"/>
    <p:sldLayoutId id="2147484060" r:id="rId95"/>
    <p:sldLayoutId id="2147484061" r:id="rId96"/>
    <p:sldLayoutId id="2147484063" r:id="rId97"/>
    <p:sldLayoutId id="2147484064" r:id="rId98"/>
    <p:sldLayoutId id="2147484065" r:id="rId99"/>
    <p:sldLayoutId id="2147484066" r:id="rId100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spc="120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5725" indent="-85725" algn="l" defTabSz="914400" rtl="0" eaLnBrk="1" latinLnBrk="0" hangingPunct="1">
        <a:lnSpc>
          <a:spcPct val="100000"/>
        </a:lnSpc>
        <a:spcBef>
          <a:spcPts val="1800"/>
        </a:spcBef>
        <a:buSzPct val="50000"/>
        <a:buFont typeface="HelveticaNeueLT Std Lt Cn" panose="020B0406020202030204" pitchFamily="34" charset="0"/>
        <a:buChar char=" 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314325" algn="l" defTabSz="914400" rtl="0" eaLnBrk="1" latinLnBrk="0" hangingPunct="1">
        <a:lnSpc>
          <a:spcPct val="100000"/>
        </a:lnSpc>
        <a:spcBef>
          <a:spcPts val="600"/>
        </a:spcBef>
        <a:buSzPct val="80000"/>
        <a:buFontTx/>
        <a:buBlip>
          <a:blip r:embed="rId108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87425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bg2"/>
          </a:solidFill>
          <a:latin typeface="+mn-lt"/>
          <a:ea typeface="+mn-ea"/>
          <a:cs typeface="+mn-cs"/>
        </a:defRPr>
      </a:lvl4pPr>
      <a:lvl5pPr marL="1262063" indent="-228600" algn="l" defTabSz="914400" rtl="0" eaLnBrk="1" latinLnBrk="0" hangingPunct="1">
        <a:lnSpc>
          <a:spcPct val="90000"/>
        </a:lnSpc>
        <a:spcBef>
          <a:spcPts val="500"/>
        </a:spcBef>
        <a:buFont typeface="HelveticaNeueLT Std Lt Cn" panose="020B0406020202030204" pitchFamily="34" charset="0"/>
        <a:buChar char="−"/>
        <a:defRPr sz="105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53EA1CA7-6A4B-4525-B31A-79FD8A5011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27" name="Diapositive think-cell" r:id="rId12" imgW="532" imgH="530" progId="TCLayout.ActiveDocument.1">
                  <p:embed/>
                </p:oleObj>
              </mc:Choice>
              <mc:Fallback>
                <p:oleObj name="Diapositive think-cell" r:id="rId12" imgW="532" imgH="530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53EA1CA7-6A4B-4525-B31A-79FD8A5011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56D049D-4B41-45FE-A1DE-AB458A6C5C72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51F5451-CC20-46A2-802F-F9D60C2A6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480131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/>
          <a:p>
            <a:r>
              <a:rPr lang="en-GB"/>
              <a:t>TITLE OF THE SLID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1F54BE0-878D-4EDE-9290-206FC15489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2FC3E58-D3FF-4715-9A44-E12BDE0AE0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1">
                <a:solidFill>
                  <a:schemeClr val="bg2">
                    <a:lumMod val="75000"/>
                  </a:schemeClr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11C5A540-F007-4FEB-B81F-D7A7222E2502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14F23E25-9FFE-4257-90E6-350B5249631F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© Ipsos | LG 26 May 2020</a:t>
            </a:r>
          </a:p>
        </p:txBody>
      </p:sp>
    </p:spTree>
    <p:extLst>
      <p:ext uri="{BB962C8B-B14F-4D97-AF65-F5344CB8AC3E}">
        <p14:creationId xmlns:p14="http://schemas.microsoft.com/office/powerpoint/2010/main" val="114674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8" r:id="rId1"/>
    <p:sldLayoutId id="2147484069" r:id="rId2"/>
    <p:sldLayoutId id="2147484070" r:id="rId3"/>
    <p:sldLayoutId id="2147484071" r:id="rId4"/>
    <p:sldLayoutId id="2147484072" r:id="rId5"/>
    <p:sldLayoutId id="2147484073" r:id="rId6"/>
    <p:sldLayoutId id="2147484074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spc="120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5725" indent="-85725" algn="l" defTabSz="914400" rtl="0" eaLnBrk="1" latinLnBrk="0" hangingPunct="1">
        <a:lnSpc>
          <a:spcPct val="100000"/>
        </a:lnSpc>
        <a:spcBef>
          <a:spcPts val="1800"/>
        </a:spcBef>
        <a:buSzPct val="50000"/>
        <a:buFont typeface="HelveticaNeueLT Std Lt Cn" panose="020B0406020202030204" pitchFamily="34" charset="0"/>
        <a:buChar char=" 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314325" algn="l" defTabSz="914400" rtl="0" eaLnBrk="1" latinLnBrk="0" hangingPunct="1">
        <a:lnSpc>
          <a:spcPct val="100000"/>
        </a:lnSpc>
        <a:spcBef>
          <a:spcPts val="600"/>
        </a:spcBef>
        <a:buSzPct val="80000"/>
        <a:buFontTx/>
        <a:buBlip>
          <a:blip r:embed="rId15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87425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bg2"/>
          </a:solidFill>
          <a:latin typeface="+mn-lt"/>
          <a:ea typeface="+mn-ea"/>
          <a:cs typeface="+mn-cs"/>
        </a:defRPr>
      </a:lvl4pPr>
      <a:lvl5pPr marL="1262063" indent="-228600" algn="l" defTabSz="914400" rtl="0" eaLnBrk="1" latinLnBrk="0" hangingPunct="1">
        <a:lnSpc>
          <a:spcPct val="90000"/>
        </a:lnSpc>
        <a:spcBef>
          <a:spcPts val="500"/>
        </a:spcBef>
        <a:buFont typeface="HelveticaNeueLT Std Lt Cn" panose="020B0406020202030204" pitchFamily="34" charset="0"/>
        <a:buChar char="−"/>
        <a:defRPr sz="105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 7" hidden="1">
            <a:extLst>
              <a:ext uri="{FF2B5EF4-FFF2-40B4-BE49-F238E27FC236}">
                <a16:creationId xmlns:a16="http://schemas.microsoft.com/office/drawing/2014/main" id="{53EA1CA7-6A4B-4525-B31A-79FD8A5011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327" name="Diapositive think-cell" r:id="rId103" imgW="532" imgH="530" progId="TCLayout.ActiveDocument.1">
                  <p:embed/>
                </p:oleObj>
              </mc:Choice>
              <mc:Fallback>
                <p:oleObj name="Diapositive think-cell" r:id="rId103" imgW="532" imgH="530" progId="TCLayout.ActiveDocument.1">
                  <p:embed/>
                  <p:pic>
                    <p:nvPicPr>
                      <p:cNvPr id="8" name="Objet 7" hidden="1">
                        <a:extLst>
                          <a:ext uri="{FF2B5EF4-FFF2-40B4-BE49-F238E27FC236}">
                            <a16:creationId xmlns:a16="http://schemas.microsoft.com/office/drawing/2014/main" id="{53EA1CA7-6A4B-4525-B31A-79FD8A5011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56D049D-4B41-45FE-A1DE-AB458A6C5C72}"/>
              </a:ext>
            </a:extLst>
          </p:cNvPr>
          <p:cNvSpPr/>
          <p:nvPr userDrawn="1">
            <p:custDataLst>
              <p:tags r:id="rId10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451F5451-CC20-46A2-802F-F9D60C2A6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786" y="382816"/>
            <a:ext cx="11382428" cy="480131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/>
          <a:p>
            <a:r>
              <a:rPr lang="en-GB"/>
              <a:t>TITLE OF THE SLID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41F54BE0-878D-4EDE-9290-206FC15489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4786" y="1808820"/>
            <a:ext cx="8319506" cy="386808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en-GB"/>
              <a:t>Click to change the text styles on the slide master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2FC3E58-D3FF-4715-9A44-E12BDE0AE0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2932" y="6219234"/>
            <a:ext cx="360037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 b="1">
                <a:solidFill>
                  <a:schemeClr val="bg2">
                    <a:lumMod val="75000"/>
                  </a:schemeClr>
                </a:solidFill>
                <a:latin typeface="+mj-lt"/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pic>
        <p:nvPicPr>
          <p:cNvPr id="12" name="Graphique 8">
            <a:extLst>
              <a:ext uri="{FF2B5EF4-FFF2-40B4-BE49-F238E27FC236}">
                <a16:creationId xmlns:a16="http://schemas.microsoft.com/office/drawing/2014/main" id="{11C5A540-F007-4FEB-B81F-D7A7222E2502}"/>
              </a:ext>
            </a:extLst>
          </p:cNvPr>
          <p:cNvPicPr>
            <a:picLocks noChangeAspect="1"/>
          </p:cNvPicPr>
          <p:nvPr userDrawn="1"/>
        </p:nvPicPr>
        <p:blipFill>
          <a:blip r:embed="rId10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1" name="Espace réservé du pied de page 4">
            <a:extLst>
              <a:ext uri="{FF2B5EF4-FFF2-40B4-BE49-F238E27FC236}">
                <a16:creationId xmlns:a16="http://schemas.microsoft.com/office/drawing/2014/main" id="{14F23E25-9FFE-4257-90E6-350B5249631F}"/>
              </a:ext>
            </a:extLst>
          </p:cNvPr>
          <p:cNvSpPr txBox="1">
            <a:spLocks/>
          </p:cNvSpPr>
          <p:nvPr userDrawn="1"/>
        </p:nvSpPr>
        <p:spPr>
          <a:xfrm>
            <a:off x="815317" y="6219234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/>
              <a:t>© Ipsos | </a:t>
            </a:r>
            <a:r>
              <a:rPr lang="en-GB" err="1"/>
              <a:t>Creative|Spark</a:t>
            </a:r>
            <a:r>
              <a:rPr lang="en-GB"/>
              <a:t> Be bold, Be creative, Spark your business </a:t>
            </a:r>
          </a:p>
        </p:txBody>
      </p:sp>
    </p:spTree>
    <p:extLst>
      <p:ext uri="{BB962C8B-B14F-4D97-AF65-F5344CB8AC3E}">
        <p14:creationId xmlns:p14="http://schemas.microsoft.com/office/powerpoint/2010/main" val="4007029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7" r:id="rId1"/>
    <p:sldLayoutId id="2147484168" r:id="rId2"/>
    <p:sldLayoutId id="2147484169" r:id="rId3"/>
    <p:sldLayoutId id="2147484170" r:id="rId4"/>
    <p:sldLayoutId id="2147484171" r:id="rId5"/>
    <p:sldLayoutId id="2147484172" r:id="rId6"/>
    <p:sldLayoutId id="2147484173" r:id="rId7"/>
    <p:sldLayoutId id="2147484174" r:id="rId8"/>
    <p:sldLayoutId id="2147484175" r:id="rId9"/>
    <p:sldLayoutId id="2147484176" r:id="rId10"/>
    <p:sldLayoutId id="2147484177" r:id="rId11"/>
    <p:sldLayoutId id="2147484178" r:id="rId12"/>
    <p:sldLayoutId id="2147484179" r:id="rId13"/>
    <p:sldLayoutId id="2147484180" r:id="rId14"/>
    <p:sldLayoutId id="2147484181" r:id="rId15"/>
    <p:sldLayoutId id="2147484182" r:id="rId16"/>
    <p:sldLayoutId id="2147484183" r:id="rId17"/>
    <p:sldLayoutId id="2147484184" r:id="rId18"/>
    <p:sldLayoutId id="2147484185" r:id="rId19"/>
    <p:sldLayoutId id="2147484186" r:id="rId20"/>
    <p:sldLayoutId id="2147484187" r:id="rId21"/>
    <p:sldLayoutId id="2147484188" r:id="rId22"/>
    <p:sldLayoutId id="2147484189" r:id="rId23"/>
    <p:sldLayoutId id="2147484190" r:id="rId24"/>
    <p:sldLayoutId id="2147484191" r:id="rId25"/>
    <p:sldLayoutId id="2147484192" r:id="rId26"/>
    <p:sldLayoutId id="2147484193" r:id="rId27"/>
    <p:sldLayoutId id="2147484194" r:id="rId28"/>
    <p:sldLayoutId id="2147484195" r:id="rId29"/>
    <p:sldLayoutId id="2147484196" r:id="rId30"/>
    <p:sldLayoutId id="2147484197" r:id="rId31"/>
    <p:sldLayoutId id="2147484198" r:id="rId32"/>
    <p:sldLayoutId id="2147484199" r:id="rId33"/>
    <p:sldLayoutId id="2147484200" r:id="rId34"/>
    <p:sldLayoutId id="2147484201" r:id="rId35"/>
    <p:sldLayoutId id="2147484202" r:id="rId36"/>
    <p:sldLayoutId id="2147484203" r:id="rId37"/>
    <p:sldLayoutId id="2147484204" r:id="rId38"/>
    <p:sldLayoutId id="2147484205" r:id="rId39"/>
    <p:sldLayoutId id="2147484206" r:id="rId40"/>
    <p:sldLayoutId id="2147484207" r:id="rId41"/>
    <p:sldLayoutId id="2147484208" r:id="rId42"/>
    <p:sldLayoutId id="2147484209" r:id="rId43"/>
    <p:sldLayoutId id="2147484210" r:id="rId44"/>
    <p:sldLayoutId id="2147484211" r:id="rId45"/>
    <p:sldLayoutId id="2147484212" r:id="rId46"/>
    <p:sldLayoutId id="2147484213" r:id="rId47"/>
    <p:sldLayoutId id="2147484214" r:id="rId48"/>
    <p:sldLayoutId id="2147484215" r:id="rId49"/>
    <p:sldLayoutId id="2147484216" r:id="rId50"/>
    <p:sldLayoutId id="2147484217" r:id="rId51"/>
    <p:sldLayoutId id="2147484218" r:id="rId52"/>
    <p:sldLayoutId id="2147484219" r:id="rId53"/>
    <p:sldLayoutId id="2147484220" r:id="rId54"/>
    <p:sldLayoutId id="2147484221" r:id="rId55"/>
    <p:sldLayoutId id="2147484222" r:id="rId56"/>
    <p:sldLayoutId id="2147484223" r:id="rId57"/>
    <p:sldLayoutId id="2147484224" r:id="rId58"/>
    <p:sldLayoutId id="2147484225" r:id="rId59"/>
    <p:sldLayoutId id="2147484226" r:id="rId60"/>
    <p:sldLayoutId id="2147484227" r:id="rId61"/>
    <p:sldLayoutId id="2147484228" r:id="rId62"/>
    <p:sldLayoutId id="2147484229" r:id="rId63"/>
    <p:sldLayoutId id="2147484230" r:id="rId64"/>
    <p:sldLayoutId id="2147484231" r:id="rId65"/>
    <p:sldLayoutId id="2147484232" r:id="rId66"/>
    <p:sldLayoutId id="2147484233" r:id="rId67"/>
    <p:sldLayoutId id="2147484234" r:id="rId68"/>
    <p:sldLayoutId id="2147484235" r:id="rId69"/>
    <p:sldLayoutId id="2147484236" r:id="rId70"/>
    <p:sldLayoutId id="2147484237" r:id="rId71"/>
    <p:sldLayoutId id="2147484238" r:id="rId72"/>
    <p:sldLayoutId id="2147484239" r:id="rId73"/>
    <p:sldLayoutId id="2147484240" r:id="rId74"/>
    <p:sldLayoutId id="2147484241" r:id="rId75"/>
    <p:sldLayoutId id="2147484242" r:id="rId76"/>
    <p:sldLayoutId id="2147484243" r:id="rId77"/>
    <p:sldLayoutId id="2147484244" r:id="rId78"/>
    <p:sldLayoutId id="2147484245" r:id="rId79"/>
    <p:sldLayoutId id="2147484246" r:id="rId80"/>
    <p:sldLayoutId id="2147484247" r:id="rId81"/>
    <p:sldLayoutId id="2147484248" r:id="rId82"/>
    <p:sldLayoutId id="2147484249" r:id="rId83"/>
    <p:sldLayoutId id="2147484250" r:id="rId84"/>
    <p:sldLayoutId id="2147484251" r:id="rId85"/>
    <p:sldLayoutId id="2147484252" r:id="rId86"/>
    <p:sldLayoutId id="2147484253" r:id="rId87"/>
    <p:sldLayoutId id="2147484254" r:id="rId88"/>
    <p:sldLayoutId id="2147484255" r:id="rId89"/>
    <p:sldLayoutId id="2147484256" r:id="rId90"/>
    <p:sldLayoutId id="2147484257" r:id="rId91"/>
    <p:sldLayoutId id="2147484258" r:id="rId92"/>
    <p:sldLayoutId id="2147484259" r:id="rId93"/>
    <p:sldLayoutId id="2147484260" r:id="rId94"/>
    <p:sldLayoutId id="2147484261" r:id="rId95"/>
    <p:sldLayoutId id="2147484262" r:id="rId96"/>
    <p:sldLayoutId id="2147484263" r:id="rId97"/>
    <p:sldLayoutId id="2147484264" r:id="rId9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0" kern="1200" cap="all" spc="120" baseline="0">
          <a:solidFill>
            <a:schemeClr val="bg2"/>
          </a:solidFill>
          <a:latin typeface="+mn-lt"/>
          <a:ea typeface="+mj-ea"/>
          <a:cs typeface="+mj-cs"/>
        </a:defRPr>
      </a:lvl1pPr>
    </p:titleStyle>
    <p:bodyStyle>
      <a:lvl1pPr marL="85725" indent="-85725" algn="l" defTabSz="914400" rtl="0" eaLnBrk="1" latinLnBrk="0" hangingPunct="1">
        <a:lnSpc>
          <a:spcPct val="100000"/>
        </a:lnSpc>
        <a:spcBef>
          <a:spcPts val="1800"/>
        </a:spcBef>
        <a:buSzPct val="50000"/>
        <a:buFont typeface="HelveticaNeueLT Std Lt Cn" panose="020B0406020202030204" pitchFamily="34" charset="0"/>
        <a:buChar char=" "/>
        <a:defRPr sz="16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447675" indent="-314325" algn="l" defTabSz="914400" rtl="0" eaLnBrk="1" latinLnBrk="0" hangingPunct="1">
        <a:lnSpc>
          <a:spcPct val="100000"/>
        </a:lnSpc>
        <a:spcBef>
          <a:spcPts val="600"/>
        </a:spcBef>
        <a:buSzPct val="80000"/>
        <a:buFontTx/>
        <a:buBlip>
          <a:blip r:embed="rId106"/>
        </a:buBlip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14375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87425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bg2"/>
          </a:solidFill>
          <a:latin typeface="+mn-lt"/>
          <a:ea typeface="+mn-ea"/>
          <a:cs typeface="+mn-cs"/>
        </a:defRPr>
      </a:lvl4pPr>
      <a:lvl5pPr marL="1262063" indent="-228600" algn="l" defTabSz="914400" rtl="0" eaLnBrk="1" latinLnBrk="0" hangingPunct="1">
        <a:lnSpc>
          <a:spcPct val="90000"/>
        </a:lnSpc>
        <a:spcBef>
          <a:spcPts val="500"/>
        </a:spcBef>
        <a:buFont typeface="HelveticaNeueLT Std Lt Cn" panose="020B0406020202030204" pitchFamily="34" charset="0"/>
        <a:buChar char="−"/>
        <a:defRPr sz="105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tags" Target="../tags/tag479.xml"/><Relationship Id="rId7" Type="http://schemas.openxmlformats.org/officeDocument/2006/relationships/image" Target="../media/image1.emf"/><Relationship Id="rId12" Type="http://schemas.openxmlformats.org/officeDocument/2006/relationships/image" Target="../media/image32.png"/><Relationship Id="rId2" Type="http://schemas.openxmlformats.org/officeDocument/2006/relationships/tags" Target="../tags/tag478.xml"/><Relationship Id="rId1" Type="http://schemas.openxmlformats.org/officeDocument/2006/relationships/vmlDrawing" Target="../drawings/vmlDrawing246.vml"/><Relationship Id="rId6" Type="http://schemas.openxmlformats.org/officeDocument/2006/relationships/oleObject" Target="../embeddings/oleObject119.bin"/><Relationship Id="rId11" Type="http://schemas.openxmlformats.org/officeDocument/2006/relationships/image" Target="../media/image31.png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30.jpeg"/><Relationship Id="rId4" Type="http://schemas.openxmlformats.org/officeDocument/2006/relationships/slideLayout" Target="../slideLayouts/slideLayout14.xml"/><Relationship Id="rId9" Type="http://schemas.openxmlformats.org/officeDocument/2006/relationships/image" Target="../media/image2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chart" Target="../charts/chart1.xml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1.xml"/><Relationship Id="rId6" Type="http://schemas.openxmlformats.org/officeDocument/2006/relationships/image" Target="../media/image34.wmf"/><Relationship Id="rId5" Type="http://schemas.openxmlformats.org/officeDocument/2006/relationships/image" Target="../media/image33.png"/><Relationship Id="rId4" Type="http://schemas.openxmlformats.org/officeDocument/2006/relationships/image" Target="../media/image3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7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44.png"/><Relationship Id="rId3" Type="http://schemas.openxmlformats.org/officeDocument/2006/relationships/tags" Target="../tags/tag481.xml"/><Relationship Id="rId7" Type="http://schemas.openxmlformats.org/officeDocument/2006/relationships/image" Target="../media/image1.emf"/><Relationship Id="rId12" Type="http://schemas.openxmlformats.org/officeDocument/2006/relationships/image" Target="../media/image43.png"/><Relationship Id="rId2" Type="http://schemas.openxmlformats.org/officeDocument/2006/relationships/tags" Target="../tags/tag480.xml"/><Relationship Id="rId1" Type="http://schemas.openxmlformats.org/officeDocument/2006/relationships/vmlDrawing" Target="../drawings/vmlDrawing247.vml"/><Relationship Id="rId6" Type="http://schemas.openxmlformats.org/officeDocument/2006/relationships/oleObject" Target="../embeddings/oleObject120.bin"/><Relationship Id="rId11" Type="http://schemas.openxmlformats.org/officeDocument/2006/relationships/image" Target="../media/image42.png"/><Relationship Id="rId5" Type="http://schemas.openxmlformats.org/officeDocument/2006/relationships/notesSlide" Target="../notesSlides/notesSlide5.xml"/><Relationship Id="rId10" Type="http://schemas.openxmlformats.org/officeDocument/2006/relationships/hyperlink" Target="https://www.thinkwithgoogle.com/feature/youtube-ad-sequencing-and-ad-recall/five-sequences/direct-shot?lang=en_US" TargetMode="External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4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psos.com/sites/default/files/ct/publication/documents/2020-02/power-of-you-ipsos.pdf" TargetMode="External"/><Relationship Id="rId13" Type="http://schemas.openxmlformats.org/officeDocument/2006/relationships/image" Target="../media/image49.png"/><Relationship Id="rId3" Type="http://schemas.openxmlformats.org/officeDocument/2006/relationships/tags" Target="../tags/tag483.xml"/><Relationship Id="rId7" Type="http://schemas.openxmlformats.org/officeDocument/2006/relationships/image" Target="../media/image1.emf"/><Relationship Id="rId12" Type="http://schemas.openxmlformats.org/officeDocument/2006/relationships/image" Target="../media/image48.png"/><Relationship Id="rId2" Type="http://schemas.openxmlformats.org/officeDocument/2006/relationships/tags" Target="../tags/tag482.xml"/><Relationship Id="rId1" Type="http://schemas.openxmlformats.org/officeDocument/2006/relationships/vmlDrawing" Target="../drawings/vmlDrawing248.vml"/><Relationship Id="rId6" Type="http://schemas.openxmlformats.org/officeDocument/2006/relationships/oleObject" Target="../embeddings/oleObject121.bin"/><Relationship Id="rId11" Type="http://schemas.openxmlformats.org/officeDocument/2006/relationships/image" Target="../media/image47.png"/><Relationship Id="rId5" Type="http://schemas.openxmlformats.org/officeDocument/2006/relationships/notesSlide" Target="../notesSlides/notesSlide6.xml"/><Relationship Id="rId15" Type="http://schemas.openxmlformats.org/officeDocument/2006/relationships/image" Target="../media/image51.png"/><Relationship Id="rId10" Type="http://schemas.openxmlformats.org/officeDocument/2006/relationships/image" Target="../media/image46.pn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45.jpeg"/><Relationship Id="rId14" Type="http://schemas.openxmlformats.org/officeDocument/2006/relationships/image" Target="../media/image50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ipsos.com/sites/default/files/ct/publication/documents/2020-02/power-of-you-ipsos.pdf" TargetMode="External"/><Relationship Id="rId13" Type="http://schemas.openxmlformats.org/officeDocument/2006/relationships/image" Target="../media/image55.png"/><Relationship Id="rId3" Type="http://schemas.openxmlformats.org/officeDocument/2006/relationships/tags" Target="../tags/tag485.xml"/><Relationship Id="rId7" Type="http://schemas.openxmlformats.org/officeDocument/2006/relationships/image" Target="../media/image1.emf"/><Relationship Id="rId12" Type="http://schemas.openxmlformats.org/officeDocument/2006/relationships/image" Target="../media/image54.png"/><Relationship Id="rId2" Type="http://schemas.openxmlformats.org/officeDocument/2006/relationships/tags" Target="../tags/tag484.xml"/><Relationship Id="rId16" Type="http://schemas.openxmlformats.org/officeDocument/2006/relationships/image" Target="../media/image48.png"/><Relationship Id="rId1" Type="http://schemas.openxmlformats.org/officeDocument/2006/relationships/vmlDrawing" Target="../drawings/vmlDrawing249.vml"/><Relationship Id="rId6" Type="http://schemas.openxmlformats.org/officeDocument/2006/relationships/oleObject" Target="../embeddings/oleObject121.bin"/><Relationship Id="rId11" Type="http://schemas.openxmlformats.org/officeDocument/2006/relationships/image" Target="../media/image53.png"/><Relationship Id="rId5" Type="http://schemas.openxmlformats.org/officeDocument/2006/relationships/notesSlide" Target="../notesSlides/notesSlide7.xml"/><Relationship Id="rId15" Type="http://schemas.openxmlformats.org/officeDocument/2006/relationships/image" Target="../media/image57.png"/><Relationship Id="rId10" Type="http://schemas.openxmlformats.org/officeDocument/2006/relationships/image" Target="../media/image52.png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45.jpeg"/><Relationship Id="rId14" Type="http://schemas.openxmlformats.org/officeDocument/2006/relationships/image" Target="../media/image5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3" Type="http://schemas.openxmlformats.org/officeDocument/2006/relationships/tags" Target="../tags/tag487.xml"/><Relationship Id="rId7" Type="http://schemas.openxmlformats.org/officeDocument/2006/relationships/image" Target="../media/image1.emf"/><Relationship Id="rId2" Type="http://schemas.openxmlformats.org/officeDocument/2006/relationships/tags" Target="../tags/tag486.xml"/><Relationship Id="rId1" Type="http://schemas.openxmlformats.org/officeDocument/2006/relationships/vmlDrawing" Target="../drawings/vmlDrawing250.vml"/><Relationship Id="rId6" Type="http://schemas.openxmlformats.org/officeDocument/2006/relationships/oleObject" Target="../embeddings/oleObject122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9.xml"/><Relationship Id="rId9" Type="http://schemas.openxmlformats.org/officeDocument/2006/relationships/image" Target="../media/image59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26">
            <a:extLst>
              <a:ext uri="{FF2B5EF4-FFF2-40B4-BE49-F238E27FC236}">
                <a16:creationId xmlns:a16="http://schemas.microsoft.com/office/drawing/2014/main" id="{66900E28-FB53-4929-858D-BB676CA23875}"/>
              </a:ext>
            </a:extLst>
          </p:cNvPr>
          <p:cNvSpPr/>
          <p:nvPr/>
        </p:nvSpPr>
        <p:spPr>
          <a:xfrm>
            <a:off x="1588" y="-2785"/>
            <a:ext cx="12188825" cy="6858000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90000"/>
                </a:schemeClr>
              </a:gs>
              <a:gs pos="99000">
                <a:schemeClr val="accent5">
                  <a:alpha val="4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217">
              <a:defRPr/>
            </a:pPr>
            <a:endParaRPr lang="en-US" sz="2400">
              <a:solidFill>
                <a:schemeClr val="bg1"/>
              </a:solidFill>
              <a:latin typeface="Montserrat Light" charset="0"/>
            </a:endParaRPr>
          </a:p>
        </p:txBody>
      </p:sp>
      <p:graphicFrame>
        <p:nvGraphicFramePr>
          <p:cNvPr id="13" name="Objet 12" hidden="1">
            <a:extLst>
              <a:ext uri="{FF2B5EF4-FFF2-40B4-BE49-F238E27FC236}">
                <a16:creationId xmlns:a16="http://schemas.microsoft.com/office/drawing/2014/main" id="{EF1D2628-EDEE-4EF0-9105-EFA045742F4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5948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13" name="Objet 12" hidden="1">
                        <a:extLst>
                          <a:ext uri="{FF2B5EF4-FFF2-40B4-BE49-F238E27FC236}">
                            <a16:creationId xmlns:a16="http://schemas.microsoft.com/office/drawing/2014/main" id="{EF1D2628-EDEE-4EF0-9105-EFA045742F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17B0C4DF-F103-4770-91D4-8AD983298DA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60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03B6F63B-3C5A-4F3A-8067-2C69A669D3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546021"/>
            <a:ext cx="12191999" cy="773353"/>
          </a:xfrm>
        </p:spPr>
        <p:txBody>
          <a:bodyPr/>
          <a:lstStyle/>
          <a:p>
            <a:pPr algn="ctr"/>
            <a:r>
              <a:rPr lang="en-GB" sz="5400" dirty="0">
                <a:solidFill>
                  <a:schemeClr val="bg1"/>
                </a:solidFill>
              </a:rPr>
              <a:t>respect context or fail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E592289-E39D-4045-90F6-24A86FA47C66}"/>
              </a:ext>
            </a:extLst>
          </p:cNvPr>
          <p:cNvGrpSpPr/>
          <p:nvPr/>
        </p:nvGrpSpPr>
        <p:grpSpPr>
          <a:xfrm>
            <a:off x="6689591" y="1524106"/>
            <a:ext cx="2004895" cy="3809788"/>
            <a:chOff x="4944325" y="5828158"/>
            <a:chExt cx="413405" cy="785570"/>
          </a:xfrm>
        </p:grpSpPr>
        <p:pic>
          <p:nvPicPr>
            <p:cNvPr id="15" name="Picture 14" descr="A screenshot of a cell phone&#10;&#10;Description automatically generated">
              <a:extLst>
                <a:ext uri="{FF2B5EF4-FFF2-40B4-BE49-F238E27FC236}">
                  <a16:creationId xmlns:a16="http://schemas.microsoft.com/office/drawing/2014/main" id="{568AB0C6-A306-4E19-AC44-0443940568B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99258" y="5943900"/>
              <a:ext cx="314085" cy="578736"/>
            </a:xfrm>
            <a:prstGeom prst="rect">
              <a:avLst/>
            </a:prstGeom>
          </p:spPr>
        </p:pic>
        <p:pic>
          <p:nvPicPr>
            <p:cNvPr id="16" name="Picture 14" descr="Image result for white iphone transparent background">
              <a:extLst>
                <a:ext uri="{FF2B5EF4-FFF2-40B4-BE49-F238E27FC236}">
                  <a16:creationId xmlns:a16="http://schemas.microsoft.com/office/drawing/2014/main" id="{6EE0CEDA-0541-4D76-BBCE-5D2235A6D6F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144" r="31387"/>
            <a:stretch/>
          </p:blipFill>
          <p:spPr bwMode="auto">
            <a:xfrm>
              <a:off x="4944325" y="5828158"/>
              <a:ext cx="413405" cy="7855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25DD5DE-6FA9-4A7E-A9C0-9B0781816A71}"/>
              </a:ext>
            </a:extLst>
          </p:cNvPr>
          <p:cNvGrpSpPr/>
          <p:nvPr/>
        </p:nvGrpSpPr>
        <p:grpSpPr>
          <a:xfrm>
            <a:off x="9703462" y="1524106"/>
            <a:ext cx="2004895" cy="3809788"/>
            <a:chOff x="5443608" y="5792634"/>
            <a:chExt cx="413405" cy="785570"/>
          </a:xfrm>
        </p:grpSpPr>
        <p:pic>
          <p:nvPicPr>
            <p:cNvPr id="18" name="Picture 17" descr="A screenshot of a cell phone&#10;&#10;Description automatically generated">
              <a:extLst>
                <a:ext uri="{FF2B5EF4-FFF2-40B4-BE49-F238E27FC236}">
                  <a16:creationId xmlns:a16="http://schemas.microsoft.com/office/drawing/2014/main" id="{623F050F-442A-44B6-82D1-7B9A6BDD026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" b="9511"/>
            <a:stretch/>
          </p:blipFill>
          <p:spPr>
            <a:xfrm>
              <a:off x="5495336" y="5904875"/>
              <a:ext cx="313292" cy="614239"/>
            </a:xfrm>
            <a:prstGeom prst="rect">
              <a:avLst/>
            </a:prstGeom>
          </p:spPr>
        </p:pic>
        <p:pic>
          <p:nvPicPr>
            <p:cNvPr id="19" name="Picture 14" descr="Image result for white iphone transparent background">
              <a:extLst>
                <a:ext uri="{FF2B5EF4-FFF2-40B4-BE49-F238E27FC236}">
                  <a16:creationId xmlns:a16="http://schemas.microsoft.com/office/drawing/2014/main" id="{A97BF630-F1A2-4E98-BF94-E2A60BB7CB1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144" r="31387"/>
            <a:stretch/>
          </p:blipFill>
          <p:spPr bwMode="auto">
            <a:xfrm>
              <a:off x="5443608" y="5792634"/>
              <a:ext cx="413405" cy="7855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B9103844-407C-41E5-9AC5-5DF438E2F06B}"/>
              </a:ext>
            </a:extLst>
          </p:cNvPr>
          <p:cNvGrpSpPr/>
          <p:nvPr/>
        </p:nvGrpSpPr>
        <p:grpSpPr>
          <a:xfrm>
            <a:off x="3675719" y="1524106"/>
            <a:ext cx="2004895" cy="3809788"/>
            <a:chOff x="4331038" y="5792634"/>
            <a:chExt cx="413405" cy="785570"/>
          </a:xfrm>
        </p:grpSpPr>
        <p:pic>
          <p:nvPicPr>
            <p:cNvPr id="21" name="Picture 20" descr="A screenshot of a social media post&#10;&#10;Description automatically generated">
              <a:extLst>
                <a:ext uri="{FF2B5EF4-FFF2-40B4-BE49-F238E27FC236}">
                  <a16:creationId xmlns:a16="http://schemas.microsoft.com/office/drawing/2014/main" id="{4A86076A-BA26-47E7-B96F-B61125A6D9B4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77331" y="5910178"/>
              <a:ext cx="317452" cy="604732"/>
            </a:xfrm>
            <a:prstGeom prst="rect">
              <a:avLst/>
            </a:prstGeom>
          </p:spPr>
        </p:pic>
        <p:pic>
          <p:nvPicPr>
            <p:cNvPr id="22" name="Picture 14" descr="Image result for white iphone transparent background">
              <a:extLst>
                <a:ext uri="{FF2B5EF4-FFF2-40B4-BE49-F238E27FC236}">
                  <a16:creationId xmlns:a16="http://schemas.microsoft.com/office/drawing/2014/main" id="{A89E20C4-AD20-4977-B8D9-47FF41EC8F57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144" r="31387"/>
            <a:stretch/>
          </p:blipFill>
          <p:spPr bwMode="auto">
            <a:xfrm>
              <a:off x="4331038" y="5792634"/>
              <a:ext cx="413405" cy="7855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BD3A4E69-EA2A-4DAC-A68A-7281BD7A40B7}"/>
              </a:ext>
            </a:extLst>
          </p:cNvPr>
          <p:cNvGrpSpPr/>
          <p:nvPr/>
        </p:nvGrpSpPr>
        <p:grpSpPr>
          <a:xfrm>
            <a:off x="661847" y="1524106"/>
            <a:ext cx="2004895" cy="3809788"/>
            <a:chOff x="3784071" y="5792634"/>
            <a:chExt cx="413405" cy="785570"/>
          </a:xfrm>
        </p:grpSpPr>
        <p:pic>
          <p:nvPicPr>
            <p:cNvPr id="24" name="Picture 23" descr="A screenshot of a cell phone&#10;&#10;Description automatically generated">
              <a:extLst>
                <a:ext uri="{FF2B5EF4-FFF2-40B4-BE49-F238E27FC236}">
                  <a16:creationId xmlns:a16="http://schemas.microsoft.com/office/drawing/2014/main" id="{F92D40AD-45BD-4766-96AB-963668D30A10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37894" y="5897339"/>
              <a:ext cx="310842" cy="567921"/>
            </a:xfrm>
            <a:prstGeom prst="rect">
              <a:avLst/>
            </a:prstGeom>
          </p:spPr>
        </p:pic>
        <p:pic>
          <p:nvPicPr>
            <p:cNvPr id="25" name="Picture 14" descr="Image result for white iphone transparent background">
              <a:extLst>
                <a:ext uri="{FF2B5EF4-FFF2-40B4-BE49-F238E27FC236}">
                  <a16:creationId xmlns:a16="http://schemas.microsoft.com/office/drawing/2014/main" id="{8B0BB7CA-284C-428E-8300-0FE740603C65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9144" r="31387"/>
            <a:stretch/>
          </p:blipFill>
          <p:spPr bwMode="auto">
            <a:xfrm>
              <a:off x="3784071" y="5792634"/>
              <a:ext cx="413405" cy="7855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3264420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90E6023-A4BB-41AC-97E8-73FDFA3ABC74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61AABEC-672F-4B68-B914-690DA978312C}" type="slidenum">
              <a:rPr lang="en-GB" smtClean="0">
                <a:latin typeface="+mn-lt"/>
              </a:rPr>
              <a:pPr/>
              <a:t>2</a:t>
            </a:fld>
            <a:r>
              <a:rPr lang="en-GB">
                <a:latin typeface="+mn-lt"/>
              </a:rPr>
              <a:t> ‒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63F2789-6D82-41B4-B223-66666DBEB739}"/>
              </a:ext>
            </a:extLst>
          </p:cNvPr>
          <p:cNvSpPr/>
          <p:nvPr/>
        </p:nvSpPr>
        <p:spPr>
          <a:xfrm>
            <a:off x="492030" y="1897713"/>
            <a:ext cx="3744000" cy="357125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916" tIns="108000" rIns="82916" bIns="41458" rtlCol="0" anchor="t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222223"/>
                </a:solidFill>
                <a:effectLst/>
                <a:uLnTx/>
                <a:uFillTx/>
                <a:ea typeface="+mn-ea"/>
                <a:cs typeface="+mn-cs"/>
              </a:rPr>
              <a:t>Emotional Engagement* effect on purchase intent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D87C72EE-2A39-4D8F-9C1B-C0E2FCDD58AD}"/>
              </a:ext>
            </a:extLst>
          </p:cNvPr>
          <p:cNvGraphicFramePr/>
          <p:nvPr/>
        </p:nvGraphicFramePr>
        <p:xfrm>
          <a:off x="492031" y="2973993"/>
          <a:ext cx="3744000" cy="30039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FCAAB8BA-82EC-4BC7-8A53-AFC7515B7724}"/>
              </a:ext>
            </a:extLst>
          </p:cNvPr>
          <p:cNvSpPr txBox="1"/>
          <p:nvPr/>
        </p:nvSpPr>
        <p:spPr>
          <a:xfrm>
            <a:off x="1394895" y="2721675"/>
            <a:ext cx="688116" cy="493422"/>
          </a:xfrm>
          <a:prstGeom prst="rect">
            <a:avLst/>
          </a:prstGeom>
          <a:noFill/>
          <a:ln>
            <a:noFill/>
          </a:ln>
        </p:spPr>
        <p:txBody>
          <a:bodyPr wrap="square" lIns="0" tIns="45710" rIns="0" bIns="4571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00" b="1" i="0" u="none" strike="noStrike" kern="1200" cap="none" spc="0" normalizeH="0" baseline="0" noProof="0" dirty="0">
                <a:ln>
                  <a:noFill/>
                </a:ln>
                <a:solidFill>
                  <a:srgbClr val="2F46A0"/>
                </a:solidFill>
                <a:effectLst/>
                <a:uLnTx/>
                <a:uFillTx/>
                <a:ea typeface="+mn-ea"/>
                <a:cs typeface="+mn-cs"/>
              </a:rPr>
              <a:t>31% 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00" b="1" i="0" u="none" strike="noStrike" kern="1200" cap="none" spc="0" normalizeH="0" baseline="0" noProof="0" dirty="0">
                <a:ln>
                  <a:noFill/>
                </a:ln>
                <a:solidFill>
                  <a:srgbClr val="2F46A0"/>
                </a:solidFill>
                <a:effectLst/>
                <a:uLnTx/>
                <a:uFillTx/>
                <a:ea typeface="+mn-ea"/>
                <a:cs typeface="+mn-cs"/>
              </a:rPr>
              <a:t>lift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5AEF250-6DD1-4A89-87FF-1628D8BE2BB6}"/>
              </a:ext>
            </a:extLst>
          </p:cNvPr>
          <p:cNvCxnSpPr/>
          <p:nvPr/>
        </p:nvCxnSpPr>
        <p:spPr>
          <a:xfrm>
            <a:off x="1378959" y="4155017"/>
            <a:ext cx="719988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27ACC5D9-9EEF-49B4-85C1-DE9140EA1E7F}"/>
              </a:ext>
            </a:extLst>
          </p:cNvPr>
          <p:cNvCxnSpPr/>
          <p:nvPr/>
        </p:nvCxnSpPr>
        <p:spPr>
          <a:xfrm>
            <a:off x="1378959" y="3955079"/>
            <a:ext cx="719988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Up Arrow 7">
            <a:extLst>
              <a:ext uri="{FF2B5EF4-FFF2-40B4-BE49-F238E27FC236}">
                <a16:creationId xmlns:a16="http://schemas.microsoft.com/office/drawing/2014/main" id="{C7B7DDA6-F557-42C2-8C39-6218EEC9C9ED}"/>
              </a:ext>
            </a:extLst>
          </p:cNvPr>
          <p:cNvSpPr/>
          <p:nvPr/>
        </p:nvSpPr>
        <p:spPr bwMode="auto">
          <a:xfrm>
            <a:off x="1648955" y="3955079"/>
            <a:ext cx="179997" cy="199937"/>
          </a:xfrm>
          <a:prstGeom prst="upArrow">
            <a:avLst/>
          </a:prstGeom>
          <a:solidFill>
            <a:srgbClr val="2F46A0"/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222223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BBBAC8E-08BF-4C02-83CA-7AAC038B63BA}"/>
              </a:ext>
            </a:extLst>
          </p:cNvPr>
          <p:cNvSpPr txBox="1"/>
          <p:nvPr/>
        </p:nvSpPr>
        <p:spPr>
          <a:xfrm>
            <a:off x="2650013" y="2721675"/>
            <a:ext cx="688116" cy="493422"/>
          </a:xfrm>
          <a:prstGeom prst="rect">
            <a:avLst/>
          </a:prstGeom>
          <a:noFill/>
          <a:ln>
            <a:noFill/>
          </a:ln>
        </p:spPr>
        <p:txBody>
          <a:bodyPr wrap="square" lIns="0" tIns="45710" rIns="0" bIns="4571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00" b="1" i="0" u="none" strike="noStrike" kern="1200" cap="none" spc="0" normalizeH="0" baseline="0" noProof="0" dirty="0">
                <a:ln>
                  <a:noFill/>
                </a:ln>
                <a:solidFill>
                  <a:srgbClr val="2F46A0"/>
                </a:solidFill>
                <a:effectLst/>
                <a:uLnTx/>
                <a:uFillTx/>
                <a:ea typeface="+mn-ea"/>
                <a:cs typeface="+mn-cs"/>
              </a:rPr>
              <a:t>81% </a:t>
            </a:r>
          </a:p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900" b="1" i="0" u="none" strike="noStrike" kern="1200" cap="none" spc="0" normalizeH="0" baseline="0" noProof="0" dirty="0">
                <a:ln>
                  <a:noFill/>
                </a:ln>
                <a:solidFill>
                  <a:srgbClr val="2F46A0"/>
                </a:solidFill>
                <a:effectLst/>
                <a:uLnTx/>
                <a:uFillTx/>
                <a:ea typeface="+mn-ea"/>
                <a:cs typeface="+mn-cs"/>
              </a:rPr>
              <a:t>lift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E84DE79D-10D9-4F07-ACBE-322245EAC995}"/>
              </a:ext>
            </a:extLst>
          </p:cNvPr>
          <p:cNvCxnSpPr/>
          <p:nvPr/>
        </p:nvCxnSpPr>
        <p:spPr>
          <a:xfrm>
            <a:off x="2634077" y="4155017"/>
            <a:ext cx="719988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42397B34-60F5-46C9-808F-815AF09156F2}"/>
              </a:ext>
            </a:extLst>
          </p:cNvPr>
          <p:cNvCxnSpPr/>
          <p:nvPr/>
        </p:nvCxnSpPr>
        <p:spPr>
          <a:xfrm>
            <a:off x="2634077" y="3634129"/>
            <a:ext cx="719988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sys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Up Arrow 22">
            <a:extLst>
              <a:ext uri="{FF2B5EF4-FFF2-40B4-BE49-F238E27FC236}">
                <a16:creationId xmlns:a16="http://schemas.microsoft.com/office/drawing/2014/main" id="{285CFD03-EDA6-479A-86A4-178CDD758947}"/>
              </a:ext>
            </a:extLst>
          </p:cNvPr>
          <p:cNvSpPr/>
          <p:nvPr/>
        </p:nvSpPr>
        <p:spPr bwMode="auto">
          <a:xfrm>
            <a:off x="2904073" y="3634129"/>
            <a:ext cx="179997" cy="520887"/>
          </a:xfrm>
          <a:prstGeom prst="upArrow">
            <a:avLst/>
          </a:prstGeom>
          <a:solidFill>
            <a:srgbClr val="2F46A0"/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222223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2105DC3D-6418-42A9-9DB1-0A17F13B19E4}"/>
              </a:ext>
            </a:extLst>
          </p:cNvPr>
          <p:cNvSpPr txBox="1">
            <a:spLocks/>
          </p:cNvSpPr>
          <p:nvPr/>
        </p:nvSpPr>
        <p:spPr>
          <a:xfrm>
            <a:off x="291252" y="5478803"/>
            <a:ext cx="6125625" cy="424383"/>
          </a:xfrm>
          <a:prstGeom prst="rect">
            <a:avLst/>
          </a:prstGeom>
        </p:spPr>
        <p:txBody>
          <a:bodyPr>
            <a:normAutofit/>
          </a:bodyPr>
          <a:lstStyle>
            <a:lvl1pPr marL="85725" indent="-85725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Char char=" "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47675" indent="-314325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80000"/>
              <a:buFontTx/>
              <a:buBlip>
                <a:blip r:embed="rId4"/>
              </a:buBlip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14375" indent="-1714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8742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26206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Char char="−"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100" dirty="0">
                <a:solidFill>
                  <a:schemeClr val="bg1">
                    <a:lumMod val="50000"/>
                  </a:schemeClr>
                </a:solidFill>
              </a:rPr>
              <a:t>*</a:t>
            </a:r>
            <a:r>
              <a:rPr lang="en-US" sz="1100" dirty="0">
                <a:solidFill>
                  <a:schemeClr val="bg1">
                    <a:lumMod val="50000"/>
                  </a:schemeClr>
                </a:solidFill>
              </a:rPr>
              <a:t>Emotional Engagement based on diagnostic ad ratings</a:t>
            </a:r>
            <a:endParaRPr lang="en-GB" sz="11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AADC25F-BD74-4D9B-B3A0-7D5F1C135D89}"/>
              </a:ext>
            </a:extLst>
          </p:cNvPr>
          <p:cNvSpPr txBox="1"/>
          <p:nvPr/>
        </p:nvSpPr>
        <p:spPr>
          <a:xfrm>
            <a:off x="457207" y="349168"/>
            <a:ext cx="9492705" cy="8125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AU" sz="2600" spc="12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rPr>
              <a:t>We believe that the best communications connect brands with people on a personal level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C851485-8F75-47E9-A8A4-2C35A04E8B1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06442" y="1606667"/>
            <a:ext cx="7242676" cy="5096698"/>
          </a:xfrm>
          <a:prstGeom prst="rect">
            <a:avLst/>
          </a:prstGeom>
        </p:spPr>
      </p:pic>
      <p:pic>
        <p:nvPicPr>
          <p:cNvPr id="38" name="Grafik 30">
            <a:extLst>
              <a:ext uri="{FF2B5EF4-FFF2-40B4-BE49-F238E27FC236}">
                <a16:creationId xmlns:a16="http://schemas.microsoft.com/office/drawing/2014/main" id="{B655DB37-424E-4BE3-9BA5-501415E8D98F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1182"/>
          <a:stretch/>
        </p:blipFill>
        <p:spPr>
          <a:xfrm>
            <a:off x="2187594" y="5822663"/>
            <a:ext cx="486771" cy="424688"/>
          </a:xfrm>
          <a:prstGeom prst="rect">
            <a:avLst/>
          </a:prstGeom>
        </p:spPr>
      </p:pic>
      <p:pic>
        <p:nvPicPr>
          <p:cNvPr id="39" name="Picture 2" descr="Image result for yahoo logo">
            <a:extLst>
              <a:ext uri="{FF2B5EF4-FFF2-40B4-BE49-F238E27FC236}">
                <a16:creationId xmlns:a16="http://schemas.microsoft.com/office/drawing/2014/main" id="{F480FD5D-32F6-4239-9579-054AA54321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8740" y="5864680"/>
            <a:ext cx="1289192" cy="3226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D962F76-3F23-4E44-8A0E-5793C989427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637667" y="160203"/>
            <a:ext cx="1311451" cy="812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28642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B5CF844-C151-BB4E-9480-458ED634A5B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3</a:t>
            </a:fld>
            <a:r>
              <a:rPr lang="en-GB"/>
              <a:t> ‒ </a:t>
            </a:r>
            <a:endParaRPr lang="en-GB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EF64341C-4549-6D43-B822-55527F0A8DAF}"/>
              </a:ext>
            </a:extLst>
          </p:cNvPr>
          <p:cNvGrpSpPr/>
          <p:nvPr/>
        </p:nvGrpSpPr>
        <p:grpSpPr>
          <a:xfrm>
            <a:off x="4039616" y="2451007"/>
            <a:ext cx="2752906" cy="2271354"/>
            <a:chOff x="410105" y="2073751"/>
            <a:chExt cx="1309117" cy="1080120"/>
          </a:xfrm>
        </p:grpSpPr>
        <p:graphicFrame>
          <p:nvGraphicFramePr>
            <p:cNvPr id="8" name="Object 5">
              <a:extLst>
                <a:ext uri="{FF2B5EF4-FFF2-40B4-BE49-F238E27FC236}">
                  <a16:creationId xmlns:a16="http://schemas.microsoft.com/office/drawing/2014/main" id="{4D4B8C39-0DA3-BD48-808B-DD9FC312D9CE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425473" y="2073751"/>
            <a:ext cx="1238764" cy="108012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9" name="Chord 8">
              <a:extLst>
                <a:ext uri="{FF2B5EF4-FFF2-40B4-BE49-F238E27FC236}">
                  <a16:creationId xmlns:a16="http://schemas.microsoft.com/office/drawing/2014/main" id="{7DFDF462-0169-1140-A799-30E4C2E07464}"/>
                </a:ext>
              </a:extLst>
            </p:cNvPr>
            <p:cNvSpPr/>
            <p:nvPr/>
          </p:nvSpPr>
          <p:spPr>
            <a:xfrm>
              <a:off x="870493" y="2406978"/>
              <a:ext cx="405879" cy="405879"/>
            </a:xfrm>
            <a:prstGeom prst="chord">
              <a:avLst>
                <a:gd name="adj1" fmla="val 10765741"/>
                <a:gd name="adj2" fmla="val 17173"/>
              </a:avLst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tIns="0" bIns="151200" rtlCol="0" anchor="t"/>
            <a:lstStyle/>
            <a:p>
              <a:pPr algn="ctr"/>
              <a:r>
                <a:rPr lang="en-GB" b="1" dirty="0">
                  <a:latin typeface="+mj-lt"/>
                  <a:cs typeface="Arial" panose="020B0604020202020204" pitchFamily="34" charset="0"/>
                </a:rPr>
                <a:t>50%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A1E0021-7B63-4049-BF9D-F79BD458DBE9}"/>
                </a:ext>
              </a:extLst>
            </p:cNvPr>
            <p:cNvSpPr txBox="1"/>
            <p:nvPr/>
          </p:nvSpPr>
          <p:spPr>
            <a:xfrm>
              <a:off x="410105" y="2688451"/>
              <a:ext cx="1309117" cy="13172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 algn="ctr"/>
              <a:r>
                <a:rPr lang="en-GB" b="1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Arial" panose="020B0604020202020204" pitchFamily="34" charset="0"/>
                </a:rPr>
                <a:t>Archetype A</a:t>
              </a:r>
            </a:p>
          </p:txBody>
        </p:sp>
      </p:grpSp>
      <p:sp>
        <p:nvSpPr>
          <p:cNvPr id="30" name="Titre 6">
            <a:extLst>
              <a:ext uri="{FF2B5EF4-FFF2-40B4-BE49-F238E27FC236}">
                <a16:creationId xmlns:a16="http://schemas.microsoft.com/office/drawing/2014/main" id="{79EF4E48-173D-4A99-A8C7-44DBA317B70E}"/>
              </a:ext>
            </a:extLst>
          </p:cNvPr>
          <p:cNvSpPr txBox="1">
            <a:spLocks/>
          </p:cNvSpPr>
          <p:nvPr/>
        </p:nvSpPr>
        <p:spPr>
          <a:xfrm>
            <a:off x="433994" y="127324"/>
            <a:ext cx="11375073" cy="812530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 cap="all" spc="120" baseline="0">
                <a:solidFill>
                  <a:schemeClr val="bg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GB" sz="2600" cap="none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Be a content creator, not an advertiser </a:t>
            </a:r>
            <a:br>
              <a:rPr lang="en-GB" sz="2600" cap="none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</a:br>
            <a:endParaRPr lang="en-GB" sz="2600" cap="none" dirty="0">
              <a:solidFill>
                <a:schemeClr val="tx1">
                  <a:lumMod val="65000"/>
                  <a:lumOff val="35000"/>
                </a:schemeClr>
              </a:solidFill>
              <a:latin typeface="+mj-lt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B2DA585-17A2-4047-B671-9F9AD10F0B45}"/>
              </a:ext>
            </a:extLst>
          </p:cNvPr>
          <p:cNvSpPr txBox="1"/>
          <p:nvPr/>
        </p:nvSpPr>
        <p:spPr>
          <a:xfrm>
            <a:off x="416361" y="648504"/>
            <a:ext cx="993650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ntertaining users can boost the chance the creative is encoded in memory and has the potential to influence mental networks and end choice</a:t>
            </a:r>
          </a:p>
        </p:txBody>
      </p:sp>
      <p:sp>
        <p:nvSpPr>
          <p:cNvPr id="41" name="Content Placeholder 1">
            <a:extLst>
              <a:ext uri="{FF2B5EF4-FFF2-40B4-BE49-F238E27FC236}">
                <a16:creationId xmlns:a16="http://schemas.microsoft.com/office/drawing/2014/main" id="{37E93559-2C7B-40F3-ACB6-63ED1C14F00D}"/>
              </a:ext>
            </a:extLst>
          </p:cNvPr>
          <p:cNvSpPr txBox="1">
            <a:spLocks/>
          </p:cNvSpPr>
          <p:nvPr/>
        </p:nvSpPr>
        <p:spPr>
          <a:xfrm>
            <a:off x="3913376" y="4588619"/>
            <a:ext cx="3005386" cy="1774172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85725" indent="-85725" algn="l" defTabSz="914400" rtl="0" eaLnBrk="1" latinLnBrk="0" hangingPunct="1">
              <a:lnSpc>
                <a:spcPct val="100000"/>
              </a:lnSpc>
              <a:spcBef>
                <a:spcPts val="1800"/>
              </a:spcBef>
              <a:buSzPct val="50000"/>
              <a:buFont typeface="HelveticaNeueLT Std Lt Cn" panose="020B0406020202030204" pitchFamily="34" charset="0"/>
              <a:buChar char=" "/>
              <a:defRPr sz="16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44500" indent="-3111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ClrTx/>
              <a:buSzPct val="100000"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714375" indent="-17145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‒"/>
              <a:defRPr sz="14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87425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4pPr>
            <a:lvl5pPr marL="1262063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HelveticaNeueLT Std Lt Cn" panose="020B0406020202030204" pitchFamily="34" charset="0"/>
              <a:buChar char="−"/>
              <a:defRPr sz="105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800" b="1"/>
              <a:t>Drama</a:t>
            </a:r>
          </a:p>
          <a:p>
            <a:pPr algn="ctr"/>
            <a:r>
              <a:rPr lang="en-US" sz="1800" b="1"/>
              <a:t>Humor</a:t>
            </a:r>
          </a:p>
          <a:p>
            <a:pPr algn="ctr"/>
            <a:r>
              <a:rPr lang="en-US" sz="1800" b="1"/>
              <a:t>Conversation</a:t>
            </a:r>
            <a:endParaRPr lang="en-US" sz="1800" b="1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1D53FF6-49FB-403C-AE0B-126702275C2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12716" y="2451007"/>
            <a:ext cx="4579284" cy="2750696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4405EC4-D47D-4128-86AE-2D93B26ADD8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7281" y="2576284"/>
            <a:ext cx="2755631" cy="348721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9683EA95-296A-45C8-A0F7-BA687D879E7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29790"/>
          <a:stretch/>
        </p:blipFill>
        <p:spPr>
          <a:xfrm>
            <a:off x="10713573" y="296652"/>
            <a:ext cx="1326912" cy="812530"/>
          </a:xfrm>
          <a:prstGeom prst="rect">
            <a:avLst/>
          </a:prstGeom>
        </p:spPr>
      </p:pic>
      <p:sp>
        <p:nvSpPr>
          <p:cNvPr id="6" name="Arrow: Right 5">
            <a:extLst>
              <a:ext uri="{FF2B5EF4-FFF2-40B4-BE49-F238E27FC236}">
                <a16:creationId xmlns:a16="http://schemas.microsoft.com/office/drawing/2014/main" id="{D572B3BD-AAB3-4A70-805F-72259AD2DAF1}"/>
              </a:ext>
            </a:extLst>
          </p:cNvPr>
          <p:cNvSpPr/>
          <p:nvPr/>
        </p:nvSpPr>
        <p:spPr>
          <a:xfrm>
            <a:off x="6676896" y="3006671"/>
            <a:ext cx="1630196" cy="1410346"/>
          </a:xfrm>
          <a:prstGeom prst="right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6575364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FAB916-2E55-496B-B8B7-0707469DB7C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D61AABEC-672F-4B68-B914-690DA978312C}" type="slidenum">
              <a:rPr lang="en-GB" smtClean="0"/>
              <a:pPr/>
              <a:t>4</a:t>
            </a:fld>
            <a:r>
              <a:rPr lang="en-GB"/>
              <a:t> ‒ </a:t>
            </a:r>
          </a:p>
        </p:txBody>
      </p:sp>
      <p:pic>
        <p:nvPicPr>
          <p:cNvPr id="4" name="Picture 3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D6901FAE-671A-4983-B58E-EDFB773DD4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640" y="1005840"/>
            <a:ext cx="11094720" cy="484632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D829728-3034-4C31-97E9-1E13F2E4FD90}"/>
              </a:ext>
            </a:extLst>
          </p:cNvPr>
          <p:cNvSpPr txBox="1"/>
          <p:nvPr/>
        </p:nvSpPr>
        <p:spPr>
          <a:xfrm>
            <a:off x="548640" y="304800"/>
            <a:ext cx="4973093" cy="49244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2600" spc="120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rPr>
              <a:t>Budget Direct – Bad Dog</a:t>
            </a:r>
          </a:p>
        </p:txBody>
      </p:sp>
    </p:spTree>
    <p:extLst>
      <p:ext uri="{BB962C8B-B14F-4D97-AF65-F5344CB8AC3E}">
        <p14:creationId xmlns:p14="http://schemas.microsoft.com/office/powerpoint/2010/main" val="36347913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 11" hidden="1">
            <a:extLst>
              <a:ext uri="{FF2B5EF4-FFF2-40B4-BE49-F238E27FC236}">
                <a16:creationId xmlns:a16="http://schemas.microsoft.com/office/drawing/2014/main" id="{01D1D66B-1509-4BD5-BFC3-158EC3A45D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8299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12" name="Objet 11" hidden="1">
                        <a:extLst>
                          <a:ext uri="{FF2B5EF4-FFF2-40B4-BE49-F238E27FC236}">
                            <a16:creationId xmlns:a16="http://schemas.microsoft.com/office/drawing/2014/main" id="{01D1D66B-1509-4BD5-BFC3-158EC3A45D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1562F974-1B89-4A0E-B1EF-4BEBB7F60E3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D5BCCA2F-BCBF-4CD3-B790-E6E6C86C913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382932" y="6230808"/>
            <a:ext cx="360037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‒ </a:t>
            </a:r>
          </a:p>
        </p:txBody>
      </p:sp>
      <p:sp>
        <p:nvSpPr>
          <p:cNvPr id="80" name="Titre 6">
            <a:extLst>
              <a:ext uri="{FF2B5EF4-FFF2-40B4-BE49-F238E27FC236}">
                <a16:creationId xmlns:a16="http://schemas.microsoft.com/office/drawing/2014/main" id="{04C48EBD-3CBA-4FFF-B8D0-F20AA822C760}"/>
              </a:ext>
            </a:extLst>
          </p:cNvPr>
          <p:cNvSpPr txBox="1">
            <a:spLocks/>
          </p:cNvSpPr>
          <p:nvPr/>
        </p:nvSpPr>
        <p:spPr>
          <a:xfrm>
            <a:off x="382807" y="548449"/>
            <a:ext cx="9491786" cy="867930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 cap="all" spc="120" baseline="0">
                <a:solidFill>
                  <a:schemeClr val="bg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GB" sz="2600" cap="none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Sequence your story</a:t>
            </a:r>
            <a:br>
              <a:rPr lang="en-GB" dirty="0"/>
            </a:br>
            <a:endParaRPr lang="en-GB" dirty="0"/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B6A097ED-B001-4CA7-AB48-973884D76D25}"/>
              </a:ext>
            </a:extLst>
          </p:cNvPr>
          <p:cNvSpPr txBox="1"/>
          <p:nvPr/>
        </p:nvSpPr>
        <p:spPr>
          <a:xfrm>
            <a:off x="468592" y="1125006"/>
            <a:ext cx="100576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ell different chapters across multiple creative rather than trying a “one shot” approach</a:t>
            </a: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0D1C0AEA-2911-4DFC-B816-25B93C7ADE6B}"/>
              </a:ext>
            </a:extLst>
          </p:cNvPr>
          <p:cNvGrpSpPr/>
          <p:nvPr/>
        </p:nvGrpSpPr>
        <p:grpSpPr>
          <a:xfrm>
            <a:off x="10504535" y="181965"/>
            <a:ext cx="1443284" cy="943041"/>
            <a:chOff x="6218946" y="3739745"/>
            <a:chExt cx="2781184" cy="1817224"/>
          </a:xfrm>
        </p:grpSpPr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17C641F4-127D-44A6-A9C3-3271F76DA96D}"/>
                </a:ext>
              </a:extLst>
            </p:cNvPr>
            <p:cNvSpPr/>
            <p:nvPr/>
          </p:nvSpPr>
          <p:spPr>
            <a:xfrm>
              <a:off x="6218946" y="3739745"/>
              <a:ext cx="2781184" cy="181722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44161470-E782-41D7-AFDD-1139BEDE0E07}"/>
                </a:ext>
              </a:extLst>
            </p:cNvPr>
            <p:cNvGrpSpPr/>
            <p:nvPr/>
          </p:nvGrpSpPr>
          <p:grpSpPr>
            <a:xfrm>
              <a:off x="6524635" y="4336142"/>
              <a:ext cx="952612" cy="538057"/>
              <a:chOff x="695400" y="2425708"/>
              <a:chExt cx="568305" cy="320991"/>
            </a:xfrm>
            <a:solidFill>
              <a:schemeClr val="tx2"/>
            </a:solidFill>
          </p:grpSpPr>
          <p:sp>
            <p:nvSpPr>
              <p:cNvPr id="39" name="Rectangle: Rounded Corners 38">
                <a:extLst>
                  <a:ext uri="{FF2B5EF4-FFF2-40B4-BE49-F238E27FC236}">
                    <a16:creationId xmlns:a16="http://schemas.microsoft.com/office/drawing/2014/main" id="{234C2F07-2AA4-40FB-B7E5-9B9108ACE311}"/>
                  </a:ext>
                </a:extLst>
              </p:cNvPr>
              <p:cNvSpPr/>
              <p:nvPr/>
            </p:nvSpPr>
            <p:spPr>
              <a:xfrm>
                <a:off x="695400" y="2425708"/>
                <a:ext cx="568305" cy="320991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40" name="Isosceles Triangle 39">
                <a:extLst>
                  <a:ext uri="{FF2B5EF4-FFF2-40B4-BE49-F238E27FC236}">
                    <a16:creationId xmlns:a16="http://schemas.microsoft.com/office/drawing/2014/main" id="{B92C46D0-6051-49B6-B944-C2D3D247815D}"/>
                  </a:ext>
                </a:extLst>
              </p:cNvPr>
              <p:cNvSpPr/>
              <p:nvPr/>
            </p:nvSpPr>
            <p:spPr>
              <a:xfrm rot="5400000">
                <a:off x="914356" y="2504084"/>
                <a:ext cx="186533" cy="160804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C24CAB32-2977-460E-A036-8F74E74CB8F7}"/>
                </a:ext>
              </a:extLst>
            </p:cNvPr>
            <p:cNvGrpSpPr/>
            <p:nvPr/>
          </p:nvGrpSpPr>
          <p:grpSpPr>
            <a:xfrm>
              <a:off x="7780389" y="4336142"/>
              <a:ext cx="952612" cy="538057"/>
              <a:chOff x="695400" y="2425708"/>
              <a:chExt cx="568305" cy="320991"/>
            </a:xfrm>
            <a:solidFill>
              <a:schemeClr val="tx2"/>
            </a:solidFill>
          </p:grpSpPr>
          <p:sp>
            <p:nvSpPr>
              <p:cNvPr id="37" name="Rectangle: Rounded Corners 36">
                <a:extLst>
                  <a:ext uri="{FF2B5EF4-FFF2-40B4-BE49-F238E27FC236}">
                    <a16:creationId xmlns:a16="http://schemas.microsoft.com/office/drawing/2014/main" id="{034617FC-D4B8-4243-B2BC-9A51C9694A60}"/>
                  </a:ext>
                </a:extLst>
              </p:cNvPr>
              <p:cNvSpPr/>
              <p:nvPr/>
            </p:nvSpPr>
            <p:spPr>
              <a:xfrm>
                <a:off x="695400" y="2425708"/>
                <a:ext cx="568305" cy="320991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38" name="Isosceles Triangle 37">
                <a:extLst>
                  <a:ext uri="{FF2B5EF4-FFF2-40B4-BE49-F238E27FC236}">
                    <a16:creationId xmlns:a16="http://schemas.microsoft.com/office/drawing/2014/main" id="{1B731DEA-4A68-45D8-9E5F-E603D0DB3BFD}"/>
                  </a:ext>
                </a:extLst>
              </p:cNvPr>
              <p:cNvSpPr/>
              <p:nvPr/>
            </p:nvSpPr>
            <p:spPr>
              <a:xfrm rot="5400000">
                <a:off x="914356" y="2504084"/>
                <a:ext cx="186533" cy="160804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62D3BB80-58AF-4628-99F6-B4DC010E2F37}"/>
                </a:ext>
              </a:extLst>
            </p:cNvPr>
            <p:cNvCxnSpPr>
              <a:stCxn id="39" idx="3"/>
              <a:endCxn id="37" idx="1"/>
            </p:cNvCxnSpPr>
            <p:nvPr/>
          </p:nvCxnSpPr>
          <p:spPr>
            <a:xfrm>
              <a:off x="7477247" y="4605171"/>
              <a:ext cx="303142" cy="0"/>
            </a:xfrm>
            <a:prstGeom prst="line">
              <a:avLst/>
            </a:prstGeom>
            <a:ln w="28575">
              <a:solidFill>
                <a:schemeClr val="tx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1" name="Graphique 12">
            <a:extLst>
              <a:ext uri="{FF2B5EF4-FFF2-40B4-BE49-F238E27FC236}">
                <a16:creationId xmlns:a16="http://schemas.microsoft.com/office/drawing/2014/main" id="{125A511F-EF30-45B9-BFB3-D60C4B6F515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226177" y="5979348"/>
            <a:ext cx="863743" cy="791160"/>
          </a:xfrm>
          <a:prstGeom prst="rect">
            <a:avLst/>
          </a:prstGeom>
        </p:spPr>
      </p:pic>
      <p:pic>
        <p:nvPicPr>
          <p:cNvPr id="42" name="Picture 6">
            <a:extLst>
              <a:ext uri="{FF2B5EF4-FFF2-40B4-BE49-F238E27FC236}">
                <a16:creationId xmlns:a16="http://schemas.microsoft.com/office/drawing/2014/main" id="{78615A18-4615-4D83-8C49-6AD7C1DB02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13337" y="5912282"/>
            <a:ext cx="1002175" cy="1002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3414B913-0B0D-49D2-99D6-5D79A5612C5E}"/>
              </a:ext>
            </a:extLst>
          </p:cNvPr>
          <p:cNvSpPr txBox="1"/>
          <p:nvPr/>
        </p:nvSpPr>
        <p:spPr>
          <a:xfrm>
            <a:off x="480503" y="5995054"/>
            <a:ext cx="623907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/>
              <a:t>Source: </a:t>
            </a:r>
            <a:r>
              <a:rPr lang="en-GB" sz="800" dirty="0">
                <a:hlinkClick r:id="rId10"/>
              </a:rPr>
              <a:t>https://www.thinkwithgoogle.com/feature/youtube-ad-sequencing-and-ad-recall/five-sequences/direct-shot?lang=en_US</a:t>
            </a:r>
            <a:endParaRPr lang="en-GB" sz="800" dirty="0"/>
          </a:p>
          <a:p>
            <a:endParaRPr lang="en-GB" sz="8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6579208-7A6F-42CF-9F08-821403F76AB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68592" y="1646186"/>
            <a:ext cx="11479227" cy="251495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3BF355C-0EC0-48AC-9B78-DC9C06E90D41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06198" y="3661207"/>
            <a:ext cx="5587687" cy="201913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798AD7D-E7F4-4A5B-BFE9-164E82A1BF3E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588152" y="3533452"/>
            <a:ext cx="4110650" cy="2473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14954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 11" hidden="1">
            <a:extLst>
              <a:ext uri="{FF2B5EF4-FFF2-40B4-BE49-F238E27FC236}">
                <a16:creationId xmlns:a16="http://schemas.microsoft.com/office/drawing/2014/main" id="{01D1D66B-1509-4BD5-BFC3-158EC3A45D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1360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12" name="Objet 11" hidden="1">
                        <a:extLst>
                          <a:ext uri="{FF2B5EF4-FFF2-40B4-BE49-F238E27FC236}">
                            <a16:creationId xmlns:a16="http://schemas.microsoft.com/office/drawing/2014/main" id="{01D1D66B-1509-4BD5-BFC3-158EC3A45D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1562F974-1B89-4A0E-B1EF-4BEBB7F60E3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D5BCCA2F-BCBF-4CD3-B790-E6E6C86C913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382932" y="6230808"/>
            <a:ext cx="360037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‒ </a:t>
            </a:r>
          </a:p>
        </p:txBody>
      </p:sp>
      <p:sp>
        <p:nvSpPr>
          <p:cNvPr id="80" name="Titre 6">
            <a:extLst>
              <a:ext uri="{FF2B5EF4-FFF2-40B4-BE49-F238E27FC236}">
                <a16:creationId xmlns:a16="http://schemas.microsoft.com/office/drawing/2014/main" id="{04C48EBD-3CBA-4FFF-B8D0-F20AA822C760}"/>
              </a:ext>
            </a:extLst>
          </p:cNvPr>
          <p:cNvSpPr txBox="1">
            <a:spLocks/>
          </p:cNvSpPr>
          <p:nvPr/>
        </p:nvSpPr>
        <p:spPr>
          <a:xfrm>
            <a:off x="433995" y="127324"/>
            <a:ext cx="9491786" cy="867930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 cap="all" spc="120" baseline="0">
                <a:solidFill>
                  <a:schemeClr val="bg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GB" sz="2600" cap="none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Use the power of you</a:t>
            </a:r>
            <a:br>
              <a:rPr lang="en-GB" dirty="0"/>
            </a:br>
            <a:endParaRPr lang="en-GB" dirty="0"/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B6A097ED-B001-4CA7-AB48-973884D76D25}"/>
              </a:ext>
            </a:extLst>
          </p:cNvPr>
          <p:cNvSpPr txBox="1"/>
          <p:nvPr/>
        </p:nvSpPr>
        <p:spPr>
          <a:xfrm>
            <a:off x="416360" y="648504"/>
            <a:ext cx="100576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everage brand assets that are distinctive to you when developing digital content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A18CBF2-3322-4CF5-8DF7-8F11B975AF15}"/>
              </a:ext>
            </a:extLst>
          </p:cNvPr>
          <p:cNvSpPr/>
          <p:nvPr/>
        </p:nvSpPr>
        <p:spPr>
          <a:xfrm>
            <a:off x="6176432" y="6301349"/>
            <a:ext cx="4320479" cy="215444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marR="0" lvl="0" indent="0" algn="l" defTabSz="1008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Source: Ipsos Creative Excellence “The Power of You” Paper,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ere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)</a:t>
            </a:r>
          </a:p>
        </p:txBody>
      </p:sp>
      <p:pic>
        <p:nvPicPr>
          <p:cNvPr id="33" name="Picture 32" descr="A screenshot of a cell phone&#10;&#10;Description automatically generated">
            <a:extLst>
              <a:ext uri="{FF2B5EF4-FFF2-40B4-BE49-F238E27FC236}">
                <a16:creationId xmlns:a16="http://schemas.microsoft.com/office/drawing/2014/main" id="{FF79BCDE-A977-4239-AF4C-B0ACF2A13B2A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7307"/>
          <a:stretch/>
        </p:blipFill>
        <p:spPr>
          <a:xfrm>
            <a:off x="92447" y="1382653"/>
            <a:ext cx="5744901" cy="4548911"/>
          </a:xfrm>
          <a:prstGeom prst="rect">
            <a:avLst/>
          </a:prstGeom>
        </p:spPr>
      </p:pic>
      <p:grpSp>
        <p:nvGrpSpPr>
          <p:cNvPr id="64" name="Group 63">
            <a:extLst>
              <a:ext uri="{FF2B5EF4-FFF2-40B4-BE49-F238E27FC236}">
                <a16:creationId xmlns:a16="http://schemas.microsoft.com/office/drawing/2014/main" id="{9D753DDC-86B7-4975-A373-D52B0DCB69E4}"/>
              </a:ext>
            </a:extLst>
          </p:cNvPr>
          <p:cNvGrpSpPr/>
          <p:nvPr/>
        </p:nvGrpSpPr>
        <p:grpSpPr>
          <a:xfrm>
            <a:off x="10496911" y="172001"/>
            <a:ext cx="1458533" cy="953005"/>
            <a:chOff x="7698093" y="1124780"/>
            <a:chExt cx="2781184" cy="1817224"/>
          </a:xfrm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26193C55-D999-481F-8849-2C43038720D7}"/>
                </a:ext>
              </a:extLst>
            </p:cNvPr>
            <p:cNvSpPr/>
            <p:nvPr/>
          </p:nvSpPr>
          <p:spPr>
            <a:xfrm>
              <a:off x="7698093" y="1124780"/>
              <a:ext cx="2781184" cy="181722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66" name="Group 74">
              <a:extLst>
                <a:ext uri="{FF2B5EF4-FFF2-40B4-BE49-F238E27FC236}">
                  <a16:creationId xmlns:a16="http://schemas.microsoft.com/office/drawing/2014/main" id="{B130D116-4A0F-4595-8591-08BB46B5AA8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692522" y="1567243"/>
              <a:ext cx="792325" cy="895273"/>
              <a:chOff x="1934" y="10"/>
              <a:chExt cx="3802" cy="4296"/>
            </a:xfrm>
            <a:solidFill>
              <a:schemeClr val="bg1"/>
            </a:solidFill>
          </p:grpSpPr>
          <p:sp>
            <p:nvSpPr>
              <p:cNvPr id="67" name="Freeform 75">
                <a:extLst>
                  <a:ext uri="{FF2B5EF4-FFF2-40B4-BE49-F238E27FC236}">
                    <a16:creationId xmlns:a16="http://schemas.microsoft.com/office/drawing/2014/main" id="{1CA7D18C-83A9-461B-B02C-D2495D58C97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34" y="10"/>
                <a:ext cx="3578" cy="4296"/>
              </a:xfrm>
              <a:custGeom>
                <a:avLst/>
                <a:gdLst>
                  <a:gd name="T0" fmla="*/ 1206 w 1709"/>
                  <a:gd name="T1" fmla="*/ 13 h 2050"/>
                  <a:gd name="T2" fmla="*/ 1030 w 1709"/>
                  <a:gd name="T3" fmla="*/ 3 h 2050"/>
                  <a:gd name="T4" fmla="*/ 700 w 1709"/>
                  <a:gd name="T5" fmla="*/ 51 h 2050"/>
                  <a:gd name="T6" fmla="*/ 357 w 1709"/>
                  <a:gd name="T7" fmla="*/ 216 h 2050"/>
                  <a:gd name="T8" fmla="*/ 221 w 1709"/>
                  <a:gd name="T9" fmla="*/ 439 h 2050"/>
                  <a:gd name="T10" fmla="*/ 190 w 1709"/>
                  <a:gd name="T11" fmla="*/ 548 h 2050"/>
                  <a:gd name="T12" fmla="*/ 187 w 1709"/>
                  <a:gd name="T13" fmla="*/ 563 h 2050"/>
                  <a:gd name="T14" fmla="*/ 158 w 1709"/>
                  <a:gd name="T15" fmla="*/ 640 h 2050"/>
                  <a:gd name="T16" fmla="*/ 138 w 1709"/>
                  <a:gd name="T17" fmla="*/ 688 h 2050"/>
                  <a:gd name="T18" fmla="*/ 129 w 1709"/>
                  <a:gd name="T19" fmla="*/ 745 h 2050"/>
                  <a:gd name="T20" fmla="*/ 178 w 1709"/>
                  <a:gd name="T21" fmla="*/ 821 h 2050"/>
                  <a:gd name="T22" fmla="*/ 206 w 1709"/>
                  <a:gd name="T23" fmla="*/ 856 h 2050"/>
                  <a:gd name="T24" fmla="*/ 200 w 1709"/>
                  <a:gd name="T25" fmla="*/ 871 h 2050"/>
                  <a:gd name="T26" fmla="*/ 51 w 1709"/>
                  <a:gd name="T27" fmla="*/ 1114 h 2050"/>
                  <a:gd name="T28" fmla="*/ 6 w 1709"/>
                  <a:gd name="T29" fmla="*/ 1214 h 2050"/>
                  <a:gd name="T30" fmla="*/ 55 w 1709"/>
                  <a:gd name="T31" fmla="*/ 1278 h 2050"/>
                  <a:gd name="T32" fmla="*/ 55 w 1709"/>
                  <a:gd name="T33" fmla="*/ 1278 h 2050"/>
                  <a:gd name="T34" fmla="*/ 91 w 1709"/>
                  <a:gd name="T35" fmla="*/ 1299 h 2050"/>
                  <a:gd name="T36" fmla="*/ 132 w 1709"/>
                  <a:gd name="T37" fmla="*/ 1328 h 2050"/>
                  <a:gd name="T38" fmla="*/ 128 w 1709"/>
                  <a:gd name="T39" fmla="*/ 1362 h 2050"/>
                  <a:gd name="T40" fmla="*/ 113 w 1709"/>
                  <a:gd name="T41" fmla="*/ 1391 h 2050"/>
                  <a:gd name="T42" fmla="*/ 111 w 1709"/>
                  <a:gd name="T43" fmla="*/ 1476 h 2050"/>
                  <a:gd name="T44" fmla="*/ 143 w 1709"/>
                  <a:gd name="T45" fmla="*/ 1501 h 2050"/>
                  <a:gd name="T46" fmla="*/ 132 w 1709"/>
                  <a:gd name="T47" fmla="*/ 1550 h 2050"/>
                  <a:gd name="T48" fmla="*/ 152 w 1709"/>
                  <a:gd name="T49" fmla="*/ 1584 h 2050"/>
                  <a:gd name="T50" fmla="*/ 176 w 1709"/>
                  <a:gd name="T51" fmla="*/ 1599 h 2050"/>
                  <a:gd name="T52" fmla="*/ 206 w 1709"/>
                  <a:gd name="T53" fmla="*/ 1626 h 2050"/>
                  <a:gd name="T54" fmla="*/ 203 w 1709"/>
                  <a:gd name="T55" fmla="*/ 1667 h 2050"/>
                  <a:gd name="T56" fmla="*/ 198 w 1709"/>
                  <a:gd name="T57" fmla="*/ 1694 h 2050"/>
                  <a:gd name="T58" fmla="*/ 209 w 1709"/>
                  <a:gd name="T59" fmla="*/ 1786 h 2050"/>
                  <a:gd name="T60" fmla="*/ 330 w 1709"/>
                  <a:gd name="T61" fmla="*/ 1879 h 2050"/>
                  <a:gd name="T62" fmla="*/ 358 w 1709"/>
                  <a:gd name="T63" fmla="*/ 1876 h 2050"/>
                  <a:gd name="T64" fmla="*/ 646 w 1709"/>
                  <a:gd name="T65" fmla="*/ 1790 h 2050"/>
                  <a:gd name="T66" fmla="*/ 784 w 1709"/>
                  <a:gd name="T67" fmla="*/ 2024 h 2050"/>
                  <a:gd name="T68" fmla="*/ 817 w 1709"/>
                  <a:gd name="T69" fmla="*/ 2050 h 2050"/>
                  <a:gd name="T70" fmla="*/ 1674 w 1709"/>
                  <a:gd name="T71" fmla="*/ 2048 h 2050"/>
                  <a:gd name="T72" fmla="*/ 1701 w 1709"/>
                  <a:gd name="T73" fmla="*/ 2034 h 2050"/>
                  <a:gd name="T74" fmla="*/ 1706 w 1709"/>
                  <a:gd name="T75" fmla="*/ 2003 h 2050"/>
                  <a:gd name="T76" fmla="*/ 1671 w 1709"/>
                  <a:gd name="T77" fmla="*/ 1938 h 2050"/>
                  <a:gd name="T78" fmla="*/ 1649 w 1709"/>
                  <a:gd name="T79" fmla="*/ 1901 h 2050"/>
                  <a:gd name="T80" fmla="*/ 1611 w 1709"/>
                  <a:gd name="T81" fmla="*/ 1804 h 2050"/>
                  <a:gd name="T82" fmla="*/ 1571 w 1709"/>
                  <a:gd name="T83" fmla="*/ 1605 h 2050"/>
                  <a:gd name="T84" fmla="*/ 55 w 1709"/>
                  <a:gd name="T85" fmla="*/ 1278 h 2050"/>
                  <a:gd name="T86" fmla="*/ 55 w 1709"/>
                  <a:gd name="T87" fmla="*/ 1278 h 20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709" h="2050">
                    <a:moveTo>
                      <a:pt x="1206" y="13"/>
                    </a:moveTo>
                    <a:cubicBezTo>
                      <a:pt x="1148" y="3"/>
                      <a:pt x="1089" y="0"/>
                      <a:pt x="1030" y="3"/>
                    </a:cubicBezTo>
                    <a:cubicBezTo>
                      <a:pt x="919" y="11"/>
                      <a:pt x="808" y="27"/>
                      <a:pt x="700" y="51"/>
                    </a:cubicBezTo>
                    <a:cubicBezTo>
                      <a:pt x="546" y="81"/>
                      <a:pt x="434" y="135"/>
                      <a:pt x="357" y="216"/>
                    </a:cubicBezTo>
                    <a:cubicBezTo>
                      <a:pt x="297" y="280"/>
                      <a:pt x="251" y="356"/>
                      <a:pt x="221" y="439"/>
                    </a:cubicBezTo>
                    <a:cubicBezTo>
                      <a:pt x="208" y="475"/>
                      <a:pt x="198" y="511"/>
                      <a:pt x="190" y="548"/>
                    </a:cubicBezTo>
                    <a:cubicBezTo>
                      <a:pt x="187" y="563"/>
                      <a:pt x="187" y="563"/>
                      <a:pt x="187" y="563"/>
                    </a:cubicBezTo>
                    <a:cubicBezTo>
                      <a:pt x="180" y="589"/>
                      <a:pt x="170" y="615"/>
                      <a:pt x="158" y="640"/>
                    </a:cubicBezTo>
                    <a:cubicBezTo>
                      <a:pt x="151" y="656"/>
                      <a:pt x="144" y="671"/>
                      <a:pt x="138" y="688"/>
                    </a:cubicBezTo>
                    <a:cubicBezTo>
                      <a:pt x="130" y="706"/>
                      <a:pt x="127" y="725"/>
                      <a:pt x="129" y="745"/>
                    </a:cubicBezTo>
                    <a:cubicBezTo>
                      <a:pt x="136" y="775"/>
                      <a:pt x="153" y="802"/>
                      <a:pt x="178" y="821"/>
                    </a:cubicBezTo>
                    <a:cubicBezTo>
                      <a:pt x="195" y="836"/>
                      <a:pt x="206" y="847"/>
                      <a:pt x="206" y="856"/>
                    </a:cubicBezTo>
                    <a:cubicBezTo>
                      <a:pt x="205" y="862"/>
                      <a:pt x="203" y="867"/>
                      <a:pt x="200" y="871"/>
                    </a:cubicBezTo>
                    <a:cubicBezTo>
                      <a:pt x="159" y="957"/>
                      <a:pt x="109" y="1039"/>
                      <a:pt x="51" y="1114"/>
                    </a:cubicBezTo>
                    <a:cubicBezTo>
                      <a:pt x="26" y="1144"/>
                      <a:pt x="0" y="1179"/>
                      <a:pt x="6" y="1214"/>
                    </a:cubicBezTo>
                    <a:cubicBezTo>
                      <a:pt x="13" y="1241"/>
                      <a:pt x="31" y="1265"/>
                      <a:pt x="55" y="1278"/>
                    </a:cubicBezTo>
                    <a:cubicBezTo>
                      <a:pt x="55" y="1278"/>
                      <a:pt x="55" y="1278"/>
                      <a:pt x="55" y="1278"/>
                    </a:cubicBezTo>
                    <a:cubicBezTo>
                      <a:pt x="67" y="1286"/>
                      <a:pt x="79" y="1293"/>
                      <a:pt x="91" y="1299"/>
                    </a:cubicBezTo>
                    <a:cubicBezTo>
                      <a:pt x="106" y="1306"/>
                      <a:pt x="130" y="1319"/>
                      <a:pt x="132" y="1328"/>
                    </a:cubicBezTo>
                    <a:cubicBezTo>
                      <a:pt x="134" y="1339"/>
                      <a:pt x="133" y="1352"/>
                      <a:pt x="128" y="1362"/>
                    </a:cubicBezTo>
                    <a:cubicBezTo>
                      <a:pt x="123" y="1373"/>
                      <a:pt x="118" y="1383"/>
                      <a:pt x="113" y="1391"/>
                    </a:cubicBezTo>
                    <a:cubicBezTo>
                      <a:pt x="101" y="1413"/>
                      <a:pt x="80" y="1450"/>
                      <a:pt x="111" y="1476"/>
                    </a:cubicBezTo>
                    <a:cubicBezTo>
                      <a:pt x="119" y="1482"/>
                      <a:pt x="131" y="1492"/>
                      <a:pt x="143" y="1501"/>
                    </a:cubicBezTo>
                    <a:cubicBezTo>
                      <a:pt x="134" y="1516"/>
                      <a:pt x="130" y="1533"/>
                      <a:pt x="132" y="1550"/>
                    </a:cubicBezTo>
                    <a:cubicBezTo>
                      <a:pt x="134" y="1564"/>
                      <a:pt x="141" y="1576"/>
                      <a:pt x="152" y="1584"/>
                    </a:cubicBezTo>
                    <a:cubicBezTo>
                      <a:pt x="160" y="1589"/>
                      <a:pt x="168" y="1594"/>
                      <a:pt x="176" y="1599"/>
                    </a:cubicBezTo>
                    <a:cubicBezTo>
                      <a:pt x="196" y="1610"/>
                      <a:pt x="204" y="1615"/>
                      <a:pt x="206" y="1626"/>
                    </a:cubicBezTo>
                    <a:cubicBezTo>
                      <a:pt x="208" y="1640"/>
                      <a:pt x="207" y="1654"/>
                      <a:pt x="203" y="1667"/>
                    </a:cubicBezTo>
                    <a:cubicBezTo>
                      <a:pt x="201" y="1676"/>
                      <a:pt x="199" y="1685"/>
                      <a:pt x="198" y="1694"/>
                    </a:cubicBezTo>
                    <a:cubicBezTo>
                      <a:pt x="194" y="1725"/>
                      <a:pt x="198" y="1757"/>
                      <a:pt x="209" y="1786"/>
                    </a:cubicBezTo>
                    <a:cubicBezTo>
                      <a:pt x="224" y="1841"/>
                      <a:pt x="273" y="1878"/>
                      <a:pt x="330" y="1879"/>
                    </a:cubicBezTo>
                    <a:cubicBezTo>
                      <a:pt x="339" y="1879"/>
                      <a:pt x="349" y="1878"/>
                      <a:pt x="358" y="1876"/>
                    </a:cubicBezTo>
                    <a:cubicBezTo>
                      <a:pt x="455" y="1853"/>
                      <a:pt x="551" y="1825"/>
                      <a:pt x="646" y="1790"/>
                    </a:cubicBezTo>
                    <a:cubicBezTo>
                      <a:pt x="722" y="1835"/>
                      <a:pt x="771" y="1973"/>
                      <a:pt x="784" y="2024"/>
                    </a:cubicBezTo>
                    <a:cubicBezTo>
                      <a:pt x="787" y="2039"/>
                      <a:pt x="801" y="2050"/>
                      <a:pt x="817" y="2050"/>
                    </a:cubicBezTo>
                    <a:cubicBezTo>
                      <a:pt x="1674" y="2048"/>
                      <a:pt x="1674" y="2048"/>
                      <a:pt x="1674" y="2048"/>
                    </a:cubicBezTo>
                    <a:cubicBezTo>
                      <a:pt x="1684" y="2048"/>
                      <a:pt x="1695" y="2042"/>
                      <a:pt x="1701" y="2034"/>
                    </a:cubicBezTo>
                    <a:cubicBezTo>
                      <a:pt x="1707" y="2025"/>
                      <a:pt x="1709" y="2014"/>
                      <a:pt x="1706" y="2003"/>
                    </a:cubicBezTo>
                    <a:cubicBezTo>
                      <a:pt x="1698" y="1980"/>
                      <a:pt x="1686" y="1958"/>
                      <a:pt x="1671" y="1938"/>
                    </a:cubicBezTo>
                    <a:cubicBezTo>
                      <a:pt x="1663" y="1927"/>
                      <a:pt x="1656" y="1914"/>
                      <a:pt x="1649" y="1901"/>
                    </a:cubicBezTo>
                    <a:cubicBezTo>
                      <a:pt x="1634" y="1870"/>
                      <a:pt x="1621" y="1838"/>
                      <a:pt x="1611" y="1804"/>
                    </a:cubicBezTo>
                    <a:cubicBezTo>
                      <a:pt x="1592" y="1739"/>
                      <a:pt x="1578" y="1672"/>
                      <a:pt x="1571" y="1605"/>
                    </a:cubicBezTo>
                    <a:moveTo>
                      <a:pt x="55" y="1278"/>
                    </a:moveTo>
                    <a:cubicBezTo>
                      <a:pt x="55" y="1278"/>
                      <a:pt x="55" y="1278"/>
                      <a:pt x="55" y="1278"/>
                    </a:cubicBezTo>
                  </a:path>
                </a:pathLst>
              </a:custGeom>
              <a:grpFill/>
              <a:ln w="19050" cap="flat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8" name="Freeform 76">
                <a:extLst>
                  <a:ext uri="{FF2B5EF4-FFF2-40B4-BE49-F238E27FC236}">
                    <a16:creationId xmlns:a16="http://schemas.microsoft.com/office/drawing/2014/main" id="{B2C42292-F8C1-4B69-B9B0-6189CFA4F0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04" y="440"/>
                <a:ext cx="678" cy="846"/>
              </a:xfrm>
              <a:custGeom>
                <a:avLst/>
                <a:gdLst>
                  <a:gd name="T0" fmla="*/ 324 w 324"/>
                  <a:gd name="T1" fmla="*/ 0 h 404"/>
                  <a:gd name="T2" fmla="*/ 137 w 324"/>
                  <a:gd name="T3" fmla="*/ 105 h 404"/>
                  <a:gd name="T4" fmla="*/ 29 w 324"/>
                  <a:gd name="T5" fmla="*/ 282 h 404"/>
                  <a:gd name="T6" fmla="*/ 3 w 324"/>
                  <a:gd name="T7" fmla="*/ 374 h 404"/>
                  <a:gd name="T8" fmla="*/ 0 w 324"/>
                  <a:gd name="T9" fmla="*/ 389 h 404"/>
                  <a:gd name="T10" fmla="*/ 66 w 324"/>
                  <a:gd name="T11" fmla="*/ 404 h 404"/>
                  <a:gd name="T12" fmla="*/ 66 w 324"/>
                  <a:gd name="T13" fmla="*/ 404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4" h="404">
                    <a:moveTo>
                      <a:pt x="324" y="0"/>
                    </a:moveTo>
                    <a:cubicBezTo>
                      <a:pt x="253" y="18"/>
                      <a:pt x="189" y="54"/>
                      <a:pt x="137" y="105"/>
                    </a:cubicBezTo>
                    <a:cubicBezTo>
                      <a:pt x="89" y="156"/>
                      <a:pt x="52" y="216"/>
                      <a:pt x="29" y="282"/>
                    </a:cubicBezTo>
                    <a:cubicBezTo>
                      <a:pt x="18" y="312"/>
                      <a:pt x="10" y="343"/>
                      <a:pt x="3" y="374"/>
                    </a:cubicBezTo>
                    <a:cubicBezTo>
                      <a:pt x="0" y="389"/>
                      <a:pt x="0" y="389"/>
                      <a:pt x="0" y="389"/>
                    </a:cubicBezTo>
                    <a:moveTo>
                      <a:pt x="66" y="404"/>
                    </a:moveTo>
                    <a:cubicBezTo>
                      <a:pt x="66" y="404"/>
                      <a:pt x="66" y="404"/>
                      <a:pt x="66" y="404"/>
                    </a:cubicBezTo>
                  </a:path>
                </a:pathLst>
              </a:custGeom>
              <a:grpFill/>
              <a:ln w="19050" cap="flat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9" name="Line 77">
                <a:extLst>
                  <a:ext uri="{FF2B5EF4-FFF2-40B4-BE49-F238E27FC236}">
                    <a16:creationId xmlns:a16="http://schemas.microsoft.com/office/drawing/2014/main" id="{ABDC7517-42A3-4FE0-BEAB-E564B19D70B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58" y="1517"/>
                <a:ext cx="0" cy="0"/>
              </a:xfrm>
              <a:prstGeom prst="line">
                <a:avLst/>
              </a:prstGeom>
              <a:grpFill/>
              <a:ln w="19050" cap="flat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0" name="Line 78">
                <a:extLst>
                  <a:ext uri="{FF2B5EF4-FFF2-40B4-BE49-F238E27FC236}">
                    <a16:creationId xmlns:a16="http://schemas.microsoft.com/office/drawing/2014/main" id="{8D8E7D09-1E5C-467F-A1E3-D5CEDD1B75E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616" y="2852"/>
                <a:ext cx="498" cy="0"/>
              </a:xfrm>
              <a:prstGeom prst="line">
                <a:avLst/>
              </a:prstGeom>
              <a:grpFill/>
              <a:ln w="19050" cap="rnd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1" name="Line 79">
                <a:extLst>
                  <a:ext uri="{FF2B5EF4-FFF2-40B4-BE49-F238E27FC236}">
                    <a16:creationId xmlns:a16="http://schemas.microsoft.com/office/drawing/2014/main" id="{10D28F54-B80C-49A7-84C7-89124A4C978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616" y="3101"/>
                <a:ext cx="498" cy="0"/>
              </a:xfrm>
              <a:prstGeom prst="line">
                <a:avLst/>
              </a:prstGeom>
              <a:grpFill/>
              <a:ln w="19050" cap="rnd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2" name="Freeform 80">
                <a:extLst>
                  <a:ext uri="{FF2B5EF4-FFF2-40B4-BE49-F238E27FC236}">
                    <a16:creationId xmlns:a16="http://schemas.microsoft.com/office/drawing/2014/main" id="{A600A916-D420-4728-B21D-E96E56F97E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5" y="232"/>
                <a:ext cx="1751" cy="2372"/>
              </a:xfrm>
              <a:custGeom>
                <a:avLst/>
                <a:gdLst>
                  <a:gd name="T0" fmla="*/ 836 w 836"/>
                  <a:gd name="T1" fmla="*/ 419 h 1132"/>
                  <a:gd name="T2" fmla="*/ 413 w 836"/>
                  <a:gd name="T3" fmla="*/ 4 h 1132"/>
                  <a:gd name="T4" fmla="*/ 5 w 836"/>
                  <a:gd name="T5" fmla="*/ 404 h 1132"/>
                  <a:gd name="T6" fmla="*/ 173 w 836"/>
                  <a:gd name="T7" fmla="*/ 753 h 1132"/>
                  <a:gd name="T8" fmla="*/ 242 w 836"/>
                  <a:gd name="T9" fmla="*/ 893 h 1132"/>
                  <a:gd name="T10" fmla="*/ 242 w 836"/>
                  <a:gd name="T11" fmla="*/ 1057 h 1132"/>
                  <a:gd name="T12" fmla="*/ 301 w 836"/>
                  <a:gd name="T13" fmla="*/ 1132 h 1132"/>
                  <a:gd name="T14" fmla="*/ 539 w 836"/>
                  <a:gd name="T15" fmla="*/ 1132 h 1132"/>
                  <a:gd name="T16" fmla="*/ 598 w 836"/>
                  <a:gd name="T17" fmla="*/ 1072 h 1132"/>
                  <a:gd name="T18" fmla="*/ 598 w 836"/>
                  <a:gd name="T19" fmla="*/ 893 h 1132"/>
                  <a:gd name="T20" fmla="*/ 665 w 836"/>
                  <a:gd name="T21" fmla="*/ 754 h 1132"/>
                  <a:gd name="T22" fmla="*/ 836 w 836"/>
                  <a:gd name="T23" fmla="*/ 419 h 1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36" h="1132">
                    <a:moveTo>
                      <a:pt x="836" y="419"/>
                    </a:moveTo>
                    <a:cubicBezTo>
                      <a:pt x="836" y="187"/>
                      <a:pt x="646" y="0"/>
                      <a:pt x="413" y="4"/>
                    </a:cubicBezTo>
                    <a:cubicBezTo>
                      <a:pt x="196" y="7"/>
                      <a:pt x="13" y="187"/>
                      <a:pt x="5" y="404"/>
                    </a:cubicBezTo>
                    <a:cubicBezTo>
                      <a:pt x="0" y="547"/>
                      <a:pt x="67" y="675"/>
                      <a:pt x="173" y="753"/>
                    </a:cubicBezTo>
                    <a:cubicBezTo>
                      <a:pt x="218" y="786"/>
                      <a:pt x="242" y="838"/>
                      <a:pt x="242" y="893"/>
                    </a:cubicBezTo>
                    <a:cubicBezTo>
                      <a:pt x="242" y="1057"/>
                      <a:pt x="242" y="1057"/>
                      <a:pt x="242" y="1057"/>
                    </a:cubicBezTo>
                    <a:cubicBezTo>
                      <a:pt x="242" y="1105"/>
                      <a:pt x="269" y="1132"/>
                      <a:pt x="301" y="1132"/>
                    </a:cubicBezTo>
                    <a:cubicBezTo>
                      <a:pt x="539" y="1132"/>
                      <a:pt x="539" y="1132"/>
                      <a:pt x="539" y="1132"/>
                    </a:cubicBezTo>
                    <a:cubicBezTo>
                      <a:pt x="572" y="1132"/>
                      <a:pt x="598" y="1105"/>
                      <a:pt x="598" y="1072"/>
                    </a:cubicBezTo>
                    <a:cubicBezTo>
                      <a:pt x="598" y="893"/>
                      <a:pt x="598" y="893"/>
                      <a:pt x="598" y="893"/>
                    </a:cubicBezTo>
                    <a:cubicBezTo>
                      <a:pt x="598" y="839"/>
                      <a:pt x="621" y="786"/>
                      <a:pt x="665" y="754"/>
                    </a:cubicBezTo>
                    <a:cubicBezTo>
                      <a:pt x="768" y="679"/>
                      <a:pt x="836" y="557"/>
                      <a:pt x="836" y="419"/>
                    </a:cubicBezTo>
                    <a:close/>
                  </a:path>
                </a:pathLst>
              </a:custGeom>
              <a:grpFill/>
              <a:ln w="19050" cap="rnd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3" name="Line 81">
                <a:extLst>
                  <a:ext uri="{FF2B5EF4-FFF2-40B4-BE49-F238E27FC236}">
                    <a16:creationId xmlns:a16="http://schemas.microsoft.com/office/drawing/2014/main" id="{D4DAE922-169B-4F29-AC3D-2B82C82398D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865" y="1483"/>
                <a:ext cx="0" cy="1121"/>
              </a:xfrm>
              <a:prstGeom prst="line">
                <a:avLst/>
              </a:prstGeom>
              <a:grpFill/>
              <a:ln w="19050" cap="rnd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4" name="Line 82">
                <a:extLst>
                  <a:ext uri="{FF2B5EF4-FFF2-40B4-BE49-F238E27FC236}">
                    <a16:creationId xmlns:a16="http://schemas.microsoft.com/office/drawing/2014/main" id="{15414623-DCB9-4A64-A1AE-F937C12458E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616" y="1236"/>
                <a:ext cx="249" cy="247"/>
              </a:xfrm>
              <a:prstGeom prst="line">
                <a:avLst/>
              </a:prstGeom>
              <a:grpFill/>
              <a:ln w="19050" cap="rnd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5" name="Line 83">
                <a:extLst>
                  <a:ext uri="{FF2B5EF4-FFF2-40B4-BE49-F238E27FC236}">
                    <a16:creationId xmlns:a16="http://schemas.microsoft.com/office/drawing/2014/main" id="{48CB9975-F9CF-4B88-991B-88A8BE368A9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865" y="1236"/>
                <a:ext cx="249" cy="247"/>
              </a:xfrm>
              <a:prstGeom prst="line">
                <a:avLst/>
              </a:prstGeom>
              <a:grpFill/>
              <a:ln w="19050" cap="rnd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25" name="Picture 24">
            <a:extLst>
              <a:ext uri="{FF2B5EF4-FFF2-40B4-BE49-F238E27FC236}">
                <a16:creationId xmlns:a16="http://schemas.microsoft.com/office/drawing/2014/main" id="{0FA989D2-1EC8-45A4-BD64-FFBC0649554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296045" y="3419492"/>
            <a:ext cx="1591194" cy="223742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055D50D-D706-482D-844C-2D65EF6D3930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776298" y="1588565"/>
            <a:ext cx="7120745" cy="1591194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0D57248-F0F0-4E1F-B912-E2BCEF3FD09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23876" y="1481312"/>
            <a:ext cx="3020994" cy="23484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E79E2C49-E5F4-4C4A-AE4C-DE444CE46C93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554266" y="3429000"/>
            <a:ext cx="1505679" cy="226263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CB55CE4-AF6E-4587-AFD8-15B7F2E6B225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568059" y="3429000"/>
            <a:ext cx="2868157" cy="1427705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1CFE0F82-7D0F-4774-B95F-EE9A2668F1EC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9398361" y="4384636"/>
            <a:ext cx="2665530" cy="15944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97493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 11" hidden="1">
            <a:extLst>
              <a:ext uri="{FF2B5EF4-FFF2-40B4-BE49-F238E27FC236}">
                <a16:creationId xmlns:a16="http://schemas.microsoft.com/office/drawing/2014/main" id="{01D1D66B-1509-4BD5-BFC3-158EC3A45D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0048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12" name="Objet 11" hidden="1">
                        <a:extLst>
                          <a:ext uri="{FF2B5EF4-FFF2-40B4-BE49-F238E27FC236}">
                            <a16:creationId xmlns:a16="http://schemas.microsoft.com/office/drawing/2014/main" id="{01D1D66B-1509-4BD5-BFC3-158EC3A45D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1562F974-1B89-4A0E-B1EF-4BEBB7F60E3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D5BCCA2F-BCBF-4CD3-B790-E6E6C86C913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382932" y="6230808"/>
            <a:ext cx="360037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‒ </a:t>
            </a:r>
          </a:p>
        </p:txBody>
      </p:sp>
      <p:sp>
        <p:nvSpPr>
          <p:cNvPr id="80" name="Titre 6">
            <a:extLst>
              <a:ext uri="{FF2B5EF4-FFF2-40B4-BE49-F238E27FC236}">
                <a16:creationId xmlns:a16="http://schemas.microsoft.com/office/drawing/2014/main" id="{04C48EBD-3CBA-4FFF-B8D0-F20AA822C760}"/>
              </a:ext>
            </a:extLst>
          </p:cNvPr>
          <p:cNvSpPr txBox="1">
            <a:spLocks/>
          </p:cNvSpPr>
          <p:nvPr/>
        </p:nvSpPr>
        <p:spPr>
          <a:xfrm>
            <a:off x="433995" y="127324"/>
            <a:ext cx="9491786" cy="867930"/>
          </a:xfrm>
          <a:prstGeom prst="rect">
            <a:avLst/>
          </a:prstGeom>
        </p:spPr>
        <p:txBody>
          <a:bodyPr vert="horz" wrap="square" lIns="72000" tIns="45720" rIns="72000" bIns="4572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 cap="all" spc="120" baseline="0">
                <a:solidFill>
                  <a:schemeClr val="bg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GB" sz="2600" cap="none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Use the power of you</a:t>
            </a:r>
            <a:br>
              <a:rPr lang="en-GB" dirty="0"/>
            </a:br>
            <a:endParaRPr lang="en-GB" dirty="0"/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B6A097ED-B001-4CA7-AB48-973884D76D25}"/>
              </a:ext>
            </a:extLst>
          </p:cNvPr>
          <p:cNvSpPr txBox="1"/>
          <p:nvPr/>
        </p:nvSpPr>
        <p:spPr>
          <a:xfrm>
            <a:off x="416360" y="648504"/>
            <a:ext cx="100576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Leverage brand assets that are distinctive to you when developing digital content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6A18CBF2-3322-4CF5-8DF7-8F11B975AF15}"/>
              </a:ext>
            </a:extLst>
          </p:cNvPr>
          <p:cNvSpPr/>
          <p:nvPr/>
        </p:nvSpPr>
        <p:spPr>
          <a:xfrm>
            <a:off x="6176432" y="6301349"/>
            <a:ext cx="4320479" cy="215444"/>
          </a:xfrm>
          <a:prstGeom prst="rect">
            <a:avLst/>
          </a:prstGeom>
        </p:spPr>
        <p:txBody>
          <a:bodyPr wrap="square" anchor="t">
            <a:spAutoFit/>
          </a:bodyPr>
          <a:lstStyle/>
          <a:p>
            <a:pPr marL="0" marR="0" lvl="0" indent="0" algn="l" defTabSz="1008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Source: Ipsos Creative Excellence “The Power of You” Paper, 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ere</a:t>
            </a: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Arial"/>
              </a:rPr>
              <a:t>)</a:t>
            </a:r>
          </a:p>
        </p:txBody>
      </p:sp>
      <p:pic>
        <p:nvPicPr>
          <p:cNvPr id="33" name="Picture 32" descr="A screenshot of a cell phone&#10;&#10;Description automatically generated">
            <a:extLst>
              <a:ext uri="{FF2B5EF4-FFF2-40B4-BE49-F238E27FC236}">
                <a16:creationId xmlns:a16="http://schemas.microsoft.com/office/drawing/2014/main" id="{FF79BCDE-A977-4239-AF4C-B0ACF2A13B2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8630" y="1431832"/>
            <a:ext cx="5744901" cy="5254167"/>
          </a:xfrm>
          <a:prstGeom prst="rect">
            <a:avLst/>
          </a:prstGeom>
        </p:spPr>
      </p:pic>
      <p:grpSp>
        <p:nvGrpSpPr>
          <p:cNvPr id="64" name="Group 63">
            <a:extLst>
              <a:ext uri="{FF2B5EF4-FFF2-40B4-BE49-F238E27FC236}">
                <a16:creationId xmlns:a16="http://schemas.microsoft.com/office/drawing/2014/main" id="{9D753DDC-86B7-4975-A373-D52B0DCB69E4}"/>
              </a:ext>
            </a:extLst>
          </p:cNvPr>
          <p:cNvGrpSpPr/>
          <p:nvPr/>
        </p:nvGrpSpPr>
        <p:grpSpPr>
          <a:xfrm>
            <a:off x="10496911" y="172001"/>
            <a:ext cx="1458533" cy="953005"/>
            <a:chOff x="7698093" y="1124780"/>
            <a:chExt cx="2781184" cy="1817224"/>
          </a:xfrm>
        </p:grpSpPr>
        <p:sp>
          <p:nvSpPr>
            <p:cNvPr id="65" name="Rectangle 64">
              <a:extLst>
                <a:ext uri="{FF2B5EF4-FFF2-40B4-BE49-F238E27FC236}">
                  <a16:creationId xmlns:a16="http://schemas.microsoft.com/office/drawing/2014/main" id="{26193C55-D999-481F-8849-2C43038720D7}"/>
                </a:ext>
              </a:extLst>
            </p:cNvPr>
            <p:cNvSpPr/>
            <p:nvPr/>
          </p:nvSpPr>
          <p:spPr>
            <a:xfrm>
              <a:off x="7698093" y="1124780"/>
              <a:ext cx="2781184" cy="1817224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grpSp>
          <p:nvGrpSpPr>
            <p:cNvPr id="66" name="Group 74">
              <a:extLst>
                <a:ext uri="{FF2B5EF4-FFF2-40B4-BE49-F238E27FC236}">
                  <a16:creationId xmlns:a16="http://schemas.microsoft.com/office/drawing/2014/main" id="{B130D116-4A0F-4595-8591-08BB46B5AA8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692522" y="1567243"/>
              <a:ext cx="792325" cy="895273"/>
              <a:chOff x="1934" y="10"/>
              <a:chExt cx="3802" cy="4296"/>
            </a:xfrm>
            <a:solidFill>
              <a:schemeClr val="bg1"/>
            </a:solidFill>
          </p:grpSpPr>
          <p:sp>
            <p:nvSpPr>
              <p:cNvPr id="67" name="Freeform 75">
                <a:extLst>
                  <a:ext uri="{FF2B5EF4-FFF2-40B4-BE49-F238E27FC236}">
                    <a16:creationId xmlns:a16="http://schemas.microsoft.com/office/drawing/2014/main" id="{1CA7D18C-83A9-461B-B02C-D2495D58C97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34" y="10"/>
                <a:ext cx="3578" cy="4296"/>
              </a:xfrm>
              <a:custGeom>
                <a:avLst/>
                <a:gdLst>
                  <a:gd name="T0" fmla="*/ 1206 w 1709"/>
                  <a:gd name="T1" fmla="*/ 13 h 2050"/>
                  <a:gd name="T2" fmla="*/ 1030 w 1709"/>
                  <a:gd name="T3" fmla="*/ 3 h 2050"/>
                  <a:gd name="T4" fmla="*/ 700 w 1709"/>
                  <a:gd name="T5" fmla="*/ 51 h 2050"/>
                  <a:gd name="T6" fmla="*/ 357 w 1709"/>
                  <a:gd name="T7" fmla="*/ 216 h 2050"/>
                  <a:gd name="T8" fmla="*/ 221 w 1709"/>
                  <a:gd name="T9" fmla="*/ 439 h 2050"/>
                  <a:gd name="T10" fmla="*/ 190 w 1709"/>
                  <a:gd name="T11" fmla="*/ 548 h 2050"/>
                  <a:gd name="T12" fmla="*/ 187 w 1709"/>
                  <a:gd name="T13" fmla="*/ 563 h 2050"/>
                  <a:gd name="T14" fmla="*/ 158 w 1709"/>
                  <a:gd name="T15" fmla="*/ 640 h 2050"/>
                  <a:gd name="T16" fmla="*/ 138 w 1709"/>
                  <a:gd name="T17" fmla="*/ 688 h 2050"/>
                  <a:gd name="T18" fmla="*/ 129 w 1709"/>
                  <a:gd name="T19" fmla="*/ 745 h 2050"/>
                  <a:gd name="T20" fmla="*/ 178 w 1709"/>
                  <a:gd name="T21" fmla="*/ 821 h 2050"/>
                  <a:gd name="T22" fmla="*/ 206 w 1709"/>
                  <a:gd name="T23" fmla="*/ 856 h 2050"/>
                  <a:gd name="T24" fmla="*/ 200 w 1709"/>
                  <a:gd name="T25" fmla="*/ 871 h 2050"/>
                  <a:gd name="T26" fmla="*/ 51 w 1709"/>
                  <a:gd name="T27" fmla="*/ 1114 h 2050"/>
                  <a:gd name="T28" fmla="*/ 6 w 1709"/>
                  <a:gd name="T29" fmla="*/ 1214 h 2050"/>
                  <a:gd name="T30" fmla="*/ 55 w 1709"/>
                  <a:gd name="T31" fmla="*/ 1278 h 2050"/>
                  <a:gd name="T32" fmla="*/ 55 w 1709"/>
                  <a:gd name="T33" fmla="*/ 1278 h 2050"/>
                  <a:gd name="T34" fmla="*/ 91 w 1709"/>
                  <a:gd name="T35" fmla="*/ 1299 h 2050"/>
                  <a:gd name="T36" fmla="*/ 132 w 1709"/>
                  <a:gd name="T37" fmla="*/ 1328 h 2050"/>
                  <a:gd name="T38" fmla="*/ 128 w 1709"/>
                  <a:gd name="T39" fmla="*/ 1362 h 2050"/>
                  <a:gd name="T40" fmla="*/ 113 w 1709"/>
                  <a:gd name="T41" fmla="*/ 1391 h 2050"/>
                  <a:gd name="T42" fmla="*/ 111 w 1709"/>
                  <a:gd name="T43" fmla="*/ 1476 h 2050"/>
                  <a:gd name="T44" fmla="*/ 143 w 1709"/>
                  <a:gd name="T45" fmla="*/ 1501 h 2050"/>
                  <a:gd name="T46" fmla="*/ 132 w 1709"/>
                  <a:gd name="T47" fmla="*/ 1550 h 2050"/>
                  <a:gd name="T48" fmla="*/ 152 w 1709"/>
                  <a:gd name="T49" fmla="*/ 1584 h 2050"/>
                  <a:gd name="T50" fmla="*/ 176 w 1709"/>
                  <a:gd name="T51" fmla="*/ 1599 h 2050"/>
                  <a:gd name="T52" fmla="*/ 206 w 1709"/>
                  <a:gd name="T53" fmla="*/ 1626 h 2050"/>
                  <a:gd name="T54" fmla="*/ 203 w 1709"/>
                  <a:gd name="T55" fmla="*/ 1667 h 2050"/>
                  <a:gd name="T56" fmla="*/ 198 w 1709"/>
                  <a:gd name="T57" fmla="*/ 1694 h 2050"/>
                  <a:gd name="T58" fmla="*/ 209 w 1709"/>
                  <a:gd name="T59" fmla="*/ 1786 h 2050"/>
                  <a:gd name="T60" fmla="*/ 330 w 1709"/>
                  <a:gd name="T61" fmla="*/ 1879 h 2050"/>
                  <a:gd name="T62" fmla="*/ 358 w 1709"/>
                  <a:gd name="T63" fmla="*/ 1876 h 2050"/>
                  <a:gd name="T64" fmla="*/ 646 w 1709"/>
                  <a:gd name="T65" fmla="*/ 1790 h 2050"/>
                  <a:gd name="T66" fmla="*/ 784 w 1709"/>
                  <a:gd name="T67" fmla="*/ 2024 h 2050"/>
                  <a:gd name="T68" fmla="*/ 817 w 1709"/>
                  <a:gd name="T69" fmla="*/ 2050 h 2050"/>
                  <a:gd name="T70" fmla="*/ 1674 w 1709"/>
                  <a:gd name="T71" fmla="*/ 2048 h 2050"/>
                  <a:gd name="T72" fmla="*/ 1701 w 1709"/>
                  <a:gd name="T73" fmla="*/ 2034 h 2050"/>
                  <a:gd name="T74" fmla="*/ 1706 w 1709"/>
                  <a:gd name="T75" fmla="*/ 2003 h 2050"/>
                  <a:gd name="T76" fmla="*/ 1671 w 1709"/>
                  <a:gd name="T77" fmla="*/ 1938 h 2050"/>
                  <a:gd name="T78" fmla="*/ 1649 w 1709"/>
                  <a:gd name="T79" fmla="*/ 1901 h 2050"/>
                  <a:gd name="T80" fmla="*/ 1611 w 1709"/>
                  <a:gd name="T81" fmla="*/ 1804 h 2050"/>
                  <a:gd name="T82" fmla="*/ 1571 w 1709"/>
                  <a:gd name="T83" fmla="*/ 1605 h 2050"/>
                  <a:gd name="T84" fmla="*/ 55 w 1709"/>
                  <a:gd name="T85" fmla="*/ 1278 h 2050"/>
                  <a:gd name="T86" fmla="*/ 55 w 1709"/>
                  <a:gd name="T87" fmla="*/ 1278 h 20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709" h="2050">
                    <a:moveTo>
                      <a:pt x="1206" y="13"/>
                    </a:moveTo>
                    <a:cubicBezTo>
                      <a:pt x="1148" y="3"/>
                      <a:pt x="1089" y="0"/>
                      <a:pt x="1030" y="3"/>
                    </a:cubicBezTo>
                    <a:cubicBezTo>
                      <a:pt x="919" y="11"/>
                      <a:pt x="808" y="27"/>
                      <a:pt x="700" y="51"/>
                    </a:cubicBezTo>
                    <a:cubicBezTo>
                      <a:pt x="546" y="81"/>
                      <a:pt x="434" y="135"/>
                      <a:pt x="357" y="216"/>
                    </a:cubicBezTo>
                    <a:cubicBezTo>
                      <a:pt x="297" y="280"/>
                      <a:pt x="251" y="356"/>
                      <a:pt x="221" y="439"/>
                    </a:cubicBezTo>
                    <a:cubicBezTo>
                      <a:pt x="208" y="475"/>
                      <a:pt x="198" y="511"/>
                      <a:pt x="190" y="548"/>
                    </a:cubicBezTo>
                    <a:cubicBezTo>
                      <a:pt x="187" y="563"/>
                      <a:pt x="187" y="563"/>
                      <a:pt x="187" y="563"/>
                    </a:cubicBezTo>
                    <a:cubicBezTo>
                      <a:pt x="180" y="589"/>
                      <a:pt x="170" y="615"/>
                      <a:pt x="158" y="640"/>
                    </a:cubicBezTo>
                    <a:cubicBezTo>
                      <a:pt x="151" y="656"/>
                      <a:pt x="144" y="671"/>
                      <a:pt x="138" y="688"/>
                    </a:cubicBezTo>
                    <a:cubicBezTo>
                      <a:pt x="130" y="706"/>
                      <a:pt x="127" y="725"/>
                      <a:pt x="129" y="745"/>
                    </a:cubicBezTo>
                    <a:cubicBezTo>
                      <a:pt x="136" y="775"/>
                      <a:pt x="153" y="802"/>
                      <a:pt x="178" y="821"/>
                    </a:cubicBezTo>
                    <a:cubicBezTo>
                      <a:pt x="195" y="836"/>
                      <a:pt x="206" y="847"/>
                      <a:pt x="206" y="856"/>
                    </a:cubicBezTo>
                    <a:cubicBezTo>
                      <a:pt x="205" y="862"/>
                      <a:pt x="203" y="867"/>
                      <a:pt x="200" y="871"/>
                    </a:cubicBezTo>
                    <a:cubicBezTo>
                      <a:pt x="159" y="957"/>
                      <a:pt x="109" y="1039"/>
                      <a:pt x="51" y="1114"/>
                    </a:cubicBezTo>
                    <a:cubicBezTo>
                      <a:pt x="26" y="1144"/>
                      <a:pt x="0" y="1179"/>
                      <a:pt x="6" y="1214"/>
                    </a:cubicBezTo>
                    <a:cubicBezTo>
                      <a:pt x="13" y="1241"/>
                      <a:pt x="31" y="1265"/>
                      <a:pt x="55" y="1278"/>
                    </a:cubicBezTo>
                    <a:cubicBezTo>
                      <a:pt x="55" y="1278"/>
                      <a:pt x="55" y="1278"/>
                      <a:pt x="55" y="1278"/>
                    </a:cubicBezTo>
                    <a:cubicBezTo>
                      <a:pt x="67" y="1286"/>
                      <a:pt x="79" y="1293"/>
                      <a:pt x="91" y="1299"/>
                    </a:cubicBezTo>
                    <a:cubicBezTo>
                      <a:pt x="106" y="1306"/>
                      <a:pt x="130" y="1319"/>
                      <a:pt x="132" y="1328"/>
                    </a:cubicBezTo>
                    <a:cubicBezTo>
                      <a:pt x="134" y="1339"/>
                      <a:pt x="133" y="1352"/>
                      <a:pt x="128" y="1362"/>
                    </a:cubicBezTo>
                    <a:cubicBezTo>
                      <a:pt x="123" y="1373"/>
                      <a:pt x="118" y="1383"/>
                      <a:pt x="113" y="1391"/>
                    </a:cubicBezTo>
                    <a:cubicBezTo>
                      <a:pt x="101" y="1413"/>
                      <a:pt x="80" y="1450"/>
                      <a:pt x="111" y="1476"/>
                    </a:cubicBezTo>
                    <a:cubicBezTo>
                      <a:pt x="119" y="1482"/>
                      <a:pt x="131" y="1492"/>
                      <a:pt x="143" y="1501"/>
                    </a:cubicBezTo>
                    <a:cubicBezTo>
                      <a:pt x="134" y="1516"/>
                      <a:pt x="130" y="1533"/>
                      <a:pt x="132" y="1550"/>
                    </a:cubicBezTo>
                    <a:cubicBezTo>
                      <a:pt x="134" y="1564"/>
                      <a:pt x="141" y="1576"/>
                      <a:pt x="152" y="1584"/>
                    </a:cubicBezTo>
                    <a:cubicBezTo>
                      <a:pt x="160" y="1589"/>
                      <a:pt x="168" y="1594"/>
                      <a:pt x="176" y="1599"/>
                    </a:cubicBezTo>
                    <a:cubicBezTo>
                      <a:pt x="196" y="1610"/>
                      <a:pt x="204" y="1615"/>
                      <a:pt x="206" y="1626"/>
                    </a:cubicBezTo>
                    <a:cubicBezTo>
                      <a:pt x="208" y="1640"/>
                      <a:pt x="207" y="1654"/>
                      <a:pt x="203" y="1667"/>
                    </a:cubicBezTo>
                    <a:cubicBezTo>
                      <a:pt x="201" y="1676"/>
                      <a:pt x="199" y="1685"/>
                      <a:pt x="198" y="1694"/>
                    </a:cubicBezTo>
                    <a:cubicBezTo>
                      <a:pt x="194" y="1725"/>
                      <a:pt x="198" y="1757"/>
                      <a:pt x="209" y="1786"/>
                    </a:cubicBezTo>
                    <a:cubicBezTo>
                      <a:pt x="224" y="1841"/>
                      <a:pt x="273" y="1878"/>
                      <a:pt x="330" y="1879"/>
                    </a:cubicBezTo>
                    <a:cubicBezTo>
                      <a:pt x="339" y="1879"/>
                      <a:pt x="349" y="1878"/>
                      <a:pt x="358" y="1876"/>
                    </a:cubicBezTo>
                    <a:cubicBezTo>
                      <a:pt x="455" y="1853"/>
                      <a:pt x="551" y="1825"/>
                      <a:pt x="646" y="1790"/>
                    </a:cubicBezTo>
                    <a:cubicBezTo>
                      <a:pt x="722" y="1835"/>
                      <a:pt x="771" y="1973"/>
                      <a:pt x="784" y="2024"/>
                    </a:cubicBezTo>
                    <a:cubicBezTo>
                      <a:pt x="787" y="2039"/>
                      <a:pt x="801" y="2050"/>
                      <a:pt x="817" y="2050"/>
                    </a:cubicBezTo>
                    <a:cubicBezTo>
                      <a:pt x="1674" y="2048"/>
                      <a:pt x="1674" y="2048"/>
                      <a:pt x="1674" y="2048"/>
                    </a:cubicBezTo>
                    <a:cubicBezTo>
                      <a:pt x="1684" y="2048"/>
                      <a:pt x="1695" y="2042"/>
                      <a:pt x="1701" y="2034"/>
                    </a:cubicBezTo>
                    <a:cubicBezTo>
                      <a:pt x="1707" y="2025"/>
                      <a:pt x="1709" y="2014"/>
                      <a:pt x="1706" y="2003"/>
                    </a:cubicBezTo>
                    <a:cubicBezTo>
                      <a:pt x="1698" y="1980"/>
                      <a:pt x="1686" y="1958"/>
                      <a:pt x="1671" y="1938"/>
                    </a:cubicBezTo>
                    <a:cubicBezTo>
                      <a:pt x="1663" y="1927"/>
                      <a:pt x="1656" y="1914"/>
                      <a:pt x="1649" y="1901"/>
                    </a:cubicBezTo>
                    <a:cubicBezTo>
                      <a:pt x="1634" y="1870"/>
                      <a:pt x="1621" y="1838"/>
                      <a:pt x="1611" y="1804"/>
                    </a:cubicBezTo>
                    <a:cubicBezTo>
                      <a:pt x="1592" y="1739"/>
                      <a:pt x="1578" y="1672"/>
                      <a:pt x="1571" y="1605"/>
                    </a:cubicBezTo>
                    <a:moveTo>
                      <a:pt x="55" y="1278"/>
                    </a:moveTo>
                    <a:cubicBezTo>
                      <a:pt x="55" y="1278"/>
                      <a:pt x="55" y="1278"/>
                      <a:pt x="55" y="1278"/>
                    </a:cubicBezTo>
                  </a:path>
                </a:pathLst>
              </a:custGeom>
              <a:grpFill/>
              <a:ln w="19050" cap="flat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8" name="Freeform 76">
                <a:extLst>
                  <a:ext uri="{FF2B5EF4-FFF2-40B4-BE49-F238E27FC236}">
                    <a16:creationId xmlns:a16="http://schemas.microsoft.com/office/drawing/2014/main" id="{B2C42292-F8C1-4B69-B9B0-6189CFA4F0E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04" y="440"/>
                <a:ext cx="678" cy="846"/>
              </a:xfrm>
              <a:custGeom>
                <a:avLst/>
                <a:gdLst>
                  <a:gd name="T0" fmla="*/ 324 w 324"/>
                  <a:gd name="T1" fmla="*/ 0 h 404"/>
                  <a:gd name="T2" fmla="*/ 137 w 324"/>
                  <a:gd name="T3" fmla="*/ 105 h 404"/>
                  <a:gd name="T4" fmla="*/ 29 w 324"/>
                  <a:gd name="T5" fmla="*/ 282 h 404"/>
                  <a:gd name="T6" fmla="*/ 3 w 324"/>
                  <a:gd name="T7" fmla="*/ 374 h 404"/>
                  <a:gd name="T8" fmla="*/ 0 w 324"/>
                  <a:gd name="T9" fmla="*/ 389 h 404"/>
                  <a:gd name="T10" fmla="*/ 66 w 324"/>
                  <a:gd name="T11" fmla="*/ 404 h 404"/>
                  <a:gd name="T12" fmla="*/ 66 w 324"/>
                  <a:gd name="T13" fmla="*/ 404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4" h="404">
                    <a:moveTo>
                      <a:pt x="324" y="0"/>
                    </a:moveTo>
                    <a:cubicBezTo>
                      <a:pt x="253" y="18"/>
                      <a:pt x="189" y="54"/>
                      <a:pt x="137" y="105"/>
                    </a:cubicBezTo>
                    <a:cubicBezTo>
                      <a:pt x="89" y="156"/>
                      <a:pt x="52" y="216"/>
                      <a:pt x="29" y="282"/>
                    </a:cubicBezTo>
                    <a:cubicBezTo>
                      <a:pt x="18" y="312"/>
                      <a:pt x="10" y="343"/>
                      <a:pt x="3" y="374"/>
                    </a:cubicBezTo>
                    <a:cubicBezTo>
                      <a:pt x="0" y="389"/>
                      <a:pt x="0" y="389"/>
                      <a:pt x="0" y="389"/>
                    </a:cubicBezTo>
                    <a:moveTo>
                      <a:pt x="66" y="404"/>
                    </a:moveTo>
                    <a:cubicBezTo>
                      <a:pt x="66" y="404"/>
                      <a:pt x="66" y="404"/>
                      <a:pt x="66" y="404"/>
                    </a:cubicBezTo>
                  </a:path>
                </a:pathLst>
              </a:custGeom>
              <a:grpFill/>
              <a:ln w="19050" cap="flat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69" name="Line 77">
                <a:extLst>
                  <a:ext uri="{FF2B5EF4-FFF2-40B4-BE49-F238E27FC236}">
                    <a16:creationId xmlns:a16="http://schemas.microsoft.com/office/drawing/2014/main" id="{ABDC7517-42A3-4FE0-BEAB-E564B19D70B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58" y="1517"/>
                <a:ext cx="0" cy="0"/>
              </a:xfrm>
              <a:prstGeom prst="line">
                <a:avLst/>
              </a:prstGeom>
              <a:grpFill/>
              <a:ln w="19050" cap="flat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0" name="Line 78">
                <a:extLst>
                  <a:ext uri="{FF2B5EF4-FFF2-40B4-BE49-F238E27FC236}">
                    <a16:creationId xmlns:a16="http://schemas.microsoft.com/office/drawing/2014/main" id="{8D8E7D09-1E5C-467F-A1E3-D5CEDD1B75E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616" y="2852"/>
                <a:ext cx="498" cy="0"/>
              </a:xfrm>
              <a:prstGeom prst="line">
                <a:avLst/>
              </a:prstGeom>
              <a:grpFill/>
              <a:ln w="19050" cap="rnd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1" name="Line 79">
                <a:extLst>
                  <a:ext uri="{FF2B5EF4-FFF2-40B4-BE49-F238E27FC236}">
                    <a16:creationId xmlns:a16="http://schemas.microsoft.com/office/drawing/2014/main" id="{10D28F54-B80C-49A7-84C7-89124A4C978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616" y="3101"/>
                <a:ext cx="498" cy="0"/>
              </a:xfrm>
              <a:prstGeom prst="line">
                <a:avLst/>
              </a:prstGeom>
              <a:grpFill/>
              <a:ln w="19050" cap="rnd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2" name="Freeform 80">
                <a:extLst>
                  <a:ext uri="{FF2B5EF4-FFF2-40B4-BE49-F238E27FC236}">
                    <a16:creationId xmlns:a16="http://schemas.microsoft.com/office/drawing/2014/main" id="{A600A916-D420-4728-B21D-E96E56F97E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5" y="232"/>
                <a:ext cx="1751" cy="2372"/>
              </a:xfrm>
              <a:custGeom>
                <a:avLst/>
                <a:gdLst>
                  <a:gd name="T0" fmla="*/ 836 w 836"/>
                  <a:gd name="T1" fmla="*/ 419 h 1132"/>
                  <a:gd name="T2" fmla="*/ 413 w 836"/>
                  <a:gd name="T3" fmla="*/ 4 h 1132"/>
                  <a:gd name="T4" fmla="*/ 5 w 836"/>
                  <a:gd name="T5" fmla="*/ 404 h 1132"/>
                  <a:gd name="T6" fmla="*/ 173 w 836"/>
                  <a:gd name="T7" fmla="*/ 753 h 1132"/>
                  <a:gd name="T8" fmla="*/ 242 w 836"/>
                  <a:gd name="T9" fmla="*/ 893 h 1132"/>
                  <a:gd name="T10" fmla="*/ 242 w 836"/>
                  <a:gd name="T11" fmla="*/ 1057 h 1132"/>
                  <a:gd name="T12" fmla="*/ 301 w 836"/>
                  <a:gd name="T13" fmla="*/ 1132 h 1132"/>
                  <a:gd name="T14" fmla="*/ 539 w 836"/>
                  <a:gd name="T15" fmla="*/ 1132 h 1132"/>
                  <a:gd name="T16" fmla="*/ 598 w 836"/>
                  <a:gd name="T17" fmla="*/ 1072 h 1132"/>
                  <a:gd name="T18" fmla="*/ 598 w 836"/>
                  <a:gd name="T19" fmla="*/ 893 h 1132"/>
                  <a:gd name="T20" fmla="*/ 665 w 836"/>
                  <a:gd name="T21" fmla="*/ 754 h 1132"/>
                  <a:gd name="T22" fmla="*/ 836 w 836"/>
                  <a:gd name="T23" fmla="*/ 419 h 1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36" h="1132">
                    <a:moveTo>
                      <a:pt x="836" y="419"/>
                    </a:moveTo>
                    <a:cubicBezTo>
                      <a:pt x="836" y="187"/>
                      <a:pt x="646" y="0"/>
                      <a:pt x="413" y="4"/>
                    </a:cubicBezTo>
                    <a:cubicBezTo>
                      <a:pt x="196" y="7"/>
                      <a:pt x="13" y="187"/>
                      <a:pt x="5" y="404"/>
                    </a:cubicBezTo>
                    <a:cubicBezTo>
                      <a:pt x="0" y="547"/>
                      <a:pt x="67" y="675"/>
                      <a:pt x="173" y="753"/>
                    </a:cubicBezTo>
                    <a:cubicBezTo>
                      <a:pt x="218" y="786"/>
                      <a:pt x="242" y="838"/>
                      <a:pt x="242" y="893"/>
                    </a:cubicBezTo>
                    <a:cubicBezTo>
                      <a:pt x="242" y="1057"/>
                      <a:pt x="242" y="1057"/>
                      <a:pt x="242" y="1057"/>
                    </a:cubicBezTo>
                    <a:cubicBezTo>
                      <a:pt x="242" y="1105"/>
                      <a:pt x="269" y="1132"/>
                      <a:pt x="301" y="1132"/>
                    </a:cubicBezTo>
                    <a:cubicBezTo>
                      <a:pt x="539" y="1132"/>
                      <a:pt x="539" y="1132"/>
                      <a:pt x="539" y="1132"/>
                    </a:cubicBezTo>
                    <a:cubicBezTo>
                      <a:pt x="572" y="1132"/>
                      <a:pt x="598" y="1105"/>
                      <a:pt x="598" y="1072"/>
                    </a:cubicBezTo>
                    <a:cubicBezTo>
                      <a:pt x="598" y="893"/>
                      <a:pt x="598" y="893"/>
                      <a:pt x="598" y="893"/>
                    </a:cubicBezTo>
                    <a:cubicBezTo>
                      <a:pt x="598" y="839"/>
                      <a:pt x="621" y="786"/>
                      <a:pt x="665" y="754"/>
                    </a:cubicBezTo>
                    <a:cubicBezTo>
                      <a:pt x="768" y="679"/>
                      <a:pt x="836" y="557"/>
                      <a:pt x="836" y="419"/>
                    </a:cubicBezTo>
                    <a:close/>
                  </a:path>
                </a:pathLst>
              </a:custGeom>
              <a:grpFill/>
              <a:ln w="19050" cap="rnd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3" name="Line 81">
                <a:extLst>
                  <a:ext uri="{FF2B5EF4-FFF2-40B4-BE49-F238E27FC236}">
                    <a16:creationId xmlns:a16="http://schemas.microsoft.com/office/drawing/2014/main" id="{D4DAE922-169B-4F29-AC3D-2B82C82398D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865" y="1483"/>
                <a:ext cx="0" cy="1121"/>
              </a:xfrm>
              <a:prstGeom prst="line">
                <a:avLst/>
              </a:prstGeom>
              <a:grpFill/>
              <a:ln w="19050" cap="rnd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4" name="Line 82">
                <a:extLst>
                  <a:ext uri="{FF2B5EF4-FFF2-40B4-BE49-F238E27FC236}">
                    <a16:creationId xmlns:a16="http://schemas.microsoft.com/office/drawing/2014/main" id="{15414623-DCB9-4A64-A1AE-F937C12458E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616" y="1236"/>
                <a:ext cx="249" cy="247"/>
              </a:xfrm>
              <a:prstGeom prst="line">
                <a:avLst/>
              </a:prstGeom>
              <a:grpFill/>
              <a:ln w="19050" cap="rnd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75" name="Line 83">
                <a:extLst>
                  <a:ext uri="{FF2B5EF4-FFF2-40B4-BE49-F238E27FC236}">
                    <a16:creationId xmlns:a16="http://schemas.microsoft.com/office/drawing/2014/main" id="{48CB9975-F9CF-4B88-991B-88A8BE368A9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865" y="1236"/>
                <a:ext cx="249" cy="247"/>
              </a:xfrm>
              <a:prstGeom prst="line">
                <a:avLst/>
              </a:prstGeom>
              <a:grpFill/>
              <a:ln w="19050" cap="rnd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CDB76083-A467-4FF2-9F12-3A3395A1CE3F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2498" t="29406" r="-2498" b="36736"/>
          <a:stretch/>
        </p:blipFill>
        <p:spPr>
          <a:xfrm>
            <a:off x="5692420" y="5634858"/>
            <a:ext cx="1070223" cy="362347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C5EA6271-798F-4C86-96F1-33875A183D2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664015" y="5120121"/>
            <a:ext cx="735837" cy="421186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037FA4CE-6220-4448-A02A-374D187063C2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16736" y="1511065"/>
            <a:ext cx="2527624" cy="1788209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9BCCDBAF-010E-427B-AE24-E7AB36B44FBB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191171" y="2496107"/>
            <a:ext cx="2361834" cy="138646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DFCE411-D3B6-43C8-99A0-18A0712E8BA7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456970" y="4335974"/>
            <a:ext cx="2293932" cy="1290337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416D96B4-EF8D-4BD8-8EA9-BE790E23B440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09137" y="4621166"/>
            <a:ext cx="2135223" cy="983680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95038713-394E-4F60-92A6-630F2025E249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132656" y="1652166"/>
            <a:ext cx="3020994" cy="234847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56C4BE78-FA3B-4C16-9E86-1076433BE5A0}"/>
              </a:ext>
            </a:extLst>
          </p:cNvPr>
          <p:cNvSpPr/>
          <p:nvPr/>
        </p:nvSpPr>
        <p:spPr>
          <a:xfrm>
            <a:off x="5553005" y="5073706"/>
            <a:ext cx="6565297" cy="14846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1895904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t 11" hidden="1">
            <a:extLst>
              <a:ext uri="{FF2B5EF4-FFF2-40B4-BE49-F238E27FC236}">
                <a16:creationId xmlns:a16="http://schemas.microsoft.com/office/drawing/2014/main" id="{01D1D66B-1509-4BD5-BFC3-158EC3A45D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6289" name="Diapositive think-cell" r:id="rId6" imgW="532" imgH="530" progId="TCLayout.ActiveDocument.1">
                  <p:embed/>
                </p:oleObj>
              </mc:Choice>
              <mc:Fallback>
                <p:oleObj name="Diapositive think-cell" r:id="rId6" imgW="532" imgH="530" progId="TCLayout.ActiveDocument.1">
                  <p:embed/>
                  <p:pic>
                    <p:nvPicPr>
                      <p:cNvPr id="12" name="Objet 11" hidden="1">
                        <a:extLst>
                          <a:ext uri="{FF2B5EF4-FFF2-40B4-BE49-F238E27FC236}">
                            <a16:creationId xmlns:a16="http://schemas.microsoft.com/office/drawing/2014/main" id="{01D1D66B-1509-4BD5-BFC3-158EC3A45D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1562F974-1B89-4A0E-B1EF-4BEBB7F60E3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panose="020B0A04020102020204" pitchFamily="34" charset="0"/>
              <a:ea typeface="+mn-ea"/>
              <a:cs typeface="+mn-cs"/>
              <a:sym typeface="Arial Black" panose="020B0A04020102020204" pitchFamily="34" charset="0"/>
            </a:endParaRPr>
          </a:p>
        </p:txBody>
      </p:sp>
      <p:sp>
        <p:nvSpPr>
          <p:cNvPr id="10" name="Espace réservé du numéro de diapositive 9">
            <a:extLst>
              <a:ext uri="{FF2B5EF4-FFF2-40B4-BE49-F238E27FC236}">
                <a16:creationId xmlns:a16="http://schemas.microsoft.com/office/drawing/2014/main" id="{D5BCCA2F-BCBF-4CD3-B790-E6E6C86C913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382932" y="6230808"/>
            <a:ext cx="360037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1AABEC-672F-4B68-B914-690DA978312C}" type="slidenum">
              <a:rPr kumimoji="0" lang="en-GB" sz="900" b="1" i="0" u="none" strike="noStrike" kern="1200" cap="none" spc="0" normalizeH="0" baseline="0" noProof="0" smtClean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r>
              <a:rPr kumimoji="0" lang="en-GB" sz="900" b="1" i="0" u="none" strike="noStrike" kern="1200" cap="none" spc="0" normalizeH="0" baseline="0" noProof="0">
                <a:ln>
                  <a:noFill/>
                </a:ln>
                <a:solidFill>
                  <a:srgbClr val="2F469C">
                    <a:lumMod val="75000"/>
                  </a:srgbClr>
                </a:solidFill>
                <a:effectLst/>
                <a:uLnTx/>
                <a:uFillTx/>
                <a:latin typeface="Arial Black"/>
                <a:ea typeface="+mn-ea"/>
                <a:cs typeface="+mn-cs"/>
              </a:rPr>
              <a:t> ‒ </a:t>
            </a:r>
          </a:p>
        </p:txBody>
      </p:sp>
      <p:sp>
        <p:nvSpPr>
          <p:cNvPr id="1317" name="Titre 6">
            <a:extLst>
              <a:ext uri="{FF2B5EF4-FFF2-40B4-BE49-F238E27FC236}">
                <a16:creationId xmlns:a16="http://schemas.microsoft.com/office/drawing/2014/main" id="{C421B766-E8ED-438C-AED7-B0BEC41928D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44406" y="138980"/>
            <a:ext cx="11382428" cy="867930"/>
          </a:xfr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kern="1200" cap="all" spc="120" baseline="0">
                <a:solidFill>
                  <a:schemeClr val="bg2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en-GB" sz="2600" cap="none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Respect context or fail</a:t>
            </a:r>
            <a:br>
              <a:rPr lang="en-GB" cap="none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endParaRPr lang="en-GB" cap="none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2D78E981-79E9-4976-B974-FED8232D8E55}"/>
              </a:ext>
            </a:extLst>
          </p:cNvPr>
          <p:cNvGrpSpPr/>
          <p:nvPr/>
        </p:nvGrpSpPr>
        <p:grpSpPr>
          <a:xfrm>
            <a:off x="6130391" y="1124780"/>
            <a:ext cx="2958294" cy="2491063"/>
            <a:chOff x="4230731" y="1124780"/>
            <a:chExt cx="2958294" cy="2491063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669BEBD-7C57-4473-9251-D7FD22CBC04B}"/>
                </a:ext>
              </a:extLst>
            </p:cNvPr>
            <p:cNvGrpSpPr/>
            <p:nvPr/>
          </p:nvGrpSpPr>
          <p:grpSpPr>
            <a:xfrm>
              <a:off x="4230731" y="1124780"/>
              <a:ext cx="2958294" cy="2491063"/>
              <a:chOff x="4230731" y="1278405"/>
              <a:chExt cx="2958294" cy="2491063"/>
            </a:xfrm>
          </p:grpSpPr>
          <p:sp>
            <p:nvSpPr>
              <p:cNvPr id="1069" name="TextBox 1068">
                <a:extLst>
                  <a:ext uri="{FF2B5EF4-FFF2-40B4-BE49-F238E27FC236}">
                    <a16:creationId xmlns:a16="http://schemas.microsoft.com/office/drawing/2014/main" id="{960872FB-775B-42C7-B2E4-81DAA5685399}"/>
                  </a:ext>
                </a:extLst>
              </p:cNvPr>
              <p:cNvSpPr txBox="1"/>
              <p:nvPr/>
            </p:nvSpPr>
            <p:spPr>
              <a:xfrm>
                <a:off x="4230731" y="3123137"/>
                <a:ext cx="2958294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>
                    <a:solidFill>
                      <a:schemeClr val="tx2"/>
                    </a:solidFill>
                  </a:rPr>
                  <a:t>Be a content creator, not an advertiser</a:t>
                </a:r>
              </a:p>
            </p:txBody>
          </p:sp>
          <p:sp>
            <p:nvSpPr>
              <p:cNvPr id="1071" name="Rectangle 1070">
                <a:extLst>
                  <a:ext uri="{FF2B5EF4-FFF2-40B4-BE49-F238E27FC236}">
                    <a16:creationId xmlns:a16="http://schemas.microsoft.com/office/drawing/2014/main" id="{D61E11B2-BCCB-45EC-933B-C0EB88B019ED}"/>
                  </a:ext>
                </a:extLst>
              </p:cNvPr>
              <p:cNvSpPr/>
              <p:nvPr/>
            </p:nvSpPr>
            <p:spPr>
              <a:xfrm>
                <a:off x="4319286" y="1278405"/>
                <a:ext cx="2781184" cy="1817224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1339" name="Group 152">
              <a:extLst>
                <a:ext uri="{FF2B5EF4-FFF2-40B4-BE49-F238E27FC236}">
                  <a16:creationId xmlns:a16="http://schemas.microsoft.com/office/drawing/2014/main" id="{64C41BFB-9FE6-42FD-8C41-8366E30257E6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262515" y="1518054"/>
              <a:ext cx="1018575" cy="921833"/>
              <a:chOff x="4971" y="-414"/>
              <a:chExt cx="2169" cy="1963"/>
            </a:xfrm>
          </p:grpSpPr>
          <p:sp>
            <p:nvSpPr>
              <p:cNvPr id="1340" name="Freeform 153">
                <a:extLst>
                  <a:ext uri="{FF2B5EF4-FFF2-40B4-BE49-F238E27FC236}">
                    <a16:creationId xmlns:a16="http://schemas.microsoft.com/office/drawing/2014/main" id="{E0FB6C82-953F-4B26-AEEB-57E63A44DD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8" y="554"/>
                <a:ext cx="1005" cy="439"/>
              </a:xfrm>
              <a:custGeom>
                <a:avLst/>
                <a:gdLst>
                  <a:gd name="T0" fmla="*/ 24 w 479"/>
                  <a:gd name="T1" fmla="*/ 125 h 209"/>
                  <a:gd name="T2" fmla="*/ 479 w 479"/>
                  <a:gd name="T3" fmla="*/ 107 h 209"/>
                  <a:gd name="T4" fmla="*/ 479 w 479"/>
                  <a:gd name="T5" fmla="*/ 108 h 209"/>
                  <a:gd name="T6" fmla="*/ 69 w 479"/>
                  <a:gd name="T7" fmla="*/ 192 h 209"/>
                  <a:gd name="T8" fmla="*/ 52 w 479"/>
                  <a:gd name="T9" fmla="*/ 203 h 209"/>
                  <a:gd name="T10" fmla="*/ 5 w 479"/>
                  <a:gd name="T11" fmla="*/ 173 h 209"/>
                  <a:gd name="T12" fmla="*/ 24 w 479"/>
                  <a:gd name="T13" fmla="*/ 125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9" h="209">
                    <a:moveTo>
                      <a:pt x="24" y="125"/>
                    </a:moveTo>
                    <a:cubicBezTo>
                      <a:pt x="209" y="0"/>
                      <a:pt x="479" y="107"/>
                      <a:pt x="479" y="107"/>
                    </a:cubicBezTo>
                    <a:cubicBezTo>
                      <a:pt x="479" y="108"/>
                      <a:pt x="479" y="108"/>
                      <a:pt x="479" y="108"/>
                    </a:cubicBezTo>
                    <a:cubicBezTo>
                      <a:pt x="479" y="108"/>
                      <a:pt x="194" y="67"/>
                      <a:pt x="69" y="192"/>
                    </a:cubicBezTo>
                    <a:cubicBezTo>
                      <a:pt x="64" y="197"/>
                      <a:pt x="58" y="201"/>
                      <a:pt x="52" y="203"/>
                    </a:cubicBezTo>
                    <a:cubicBezTo>
                      <a:pt x="32" y="209"/>
                      <a:pt x="11" y="195"/>
                      <a:pt x="5" y="173"/>
                    </a:cubicBezTo>
                    <a:cubicBezTo>
                      <a:pt x="0" y="153"/>
                      <a:pt x="8" y="133"/>
                      <a:pt x="24" y="125"/>
                    </a:cubicBezTo>
                    <a:close/>
                  </a:path>
                </a:pathLst>
              </a:cu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41" name="Freeform 154">
                <a:extLst>
                  <a:ext uri="{FF2B5EF4-FFF2-40B4-BE49-F238E27FC236}">
                    <a16:creationId xmlns:a16="http://schemas.microsoft.com/office/drawing/2014/main" id="{04F6486B-7ADC-4586-B04A-48027D0D61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8" y="-204"/>
                <a:ext cx="679" cy="834"/>
              </a:xfrm>
              <a:custGeom>
                <a:avLst/>
                <a:gdLst>
                  <a:gd name="T0" fmla="*/ 64 w 324"/>
                  <a:gd name="T1" fmla="*/ 8 h 397"/>
                  <a:gd name="T2" fmla="*/ 324 w 324"/>
                  <a:gd name="T3" fmla="*/ 397 h 397"/>
                  <a:gd name="T4" fmla="*/ 324 w 324"/>
                  <a:gd name="T5" fmla="*/ 397 h 397"/>
                  <a:gd name="T6" fmla="*/ 42 w 324"/>
                  <a:gd name="T7" fmla="*/ 96 h 397"/>
                  <a:gd name="T8" fmla="*/ 25 w 324"/>
                  <a:gd name="T9" fmla="*/ 89 h 397"/>
                  <a:gd name="T10" fmla="*/ 12 w 324"/>
                  <a:gd name="T11" fmla="*/ 26 h 397"/>
                  <a:gd name="T12" fmla="*/ 64 w 324"/>
                  <a:gd name="T13" fmla="*/ 8 h 3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4" h="397">
                    <a:moveTo>
                      <a:pt x="64" y="8"/>
                    </a:moveTo>
                    <a:cubicBezTo>
                      <a:pt x="250" y="81"/>
                      <a:pt x="324" y="397"/>
                      <a:pt x="324" y="397"/>
                    </a:cubicBezTo>
                    <a:cubicBezTo>
                      <a:pt x="324" y="397"/>
                      <a:pt x="324" y="397"/>
                      <a:pt x="324" y="397"/>
                    </a:cubicBezTo>
                    <a:cubicBezTo>
                      <a:pt x="324" y="397"/>
                      <a:pt x="196" y="116"/>
                      <a:pt x="42" y="96"/>
                    </a:cubicBezTo>
                    <a:cubicBezTo>
                      <a:pt x="36" y="96"/>
                      <a:pt x="31" y="93"/>
                      <a:pt x="25" y="89"/>
                    </a:cubicBezTo>
                    <a:cubicBezTo>
                      <a:pt x="6" y="75"/>
                      <a:pt x="0" y="47"/>
                      <a:pt x="12" y="26"/>
                    </a:cubicBezTo>
                    <a:cubicBezTo>
                      <a:pt x="23" y="8"/>
                      <a:pt x="49" y="0"/>
                      <a:pt x="64" y="8"/>
                    </a:cubicBezTo>
                    <a:close/>
                  </a:path>
                </a:pathLst>
              </a:cu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42" name="Freeform 155">
                <a:extLst>
                  <a:ext uri="{FF2B5EF4-FFF2-40B4-BE49-F238E27FC236}">
                    <a16:creationId xmlns:a16="http://schemas.microsoft.com/office/drawing/2014/main" id="{ECD2FC16-9F41-460F-8FA5-EC70C0A5D0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4" y="900"/>
                <a:ext cx="529" cy="649"/>
              </a:xfrm>
              <a:custGeom>
                <a:avLst/>
                <a:gdLst>
                  <a:gd name="T0" fmla="*/ 4 w 252"/>
                  <a:gd name="T1" fmla="*/ 252 h 309"/>
                  <a:gd name="T2" fmla="*/ 252 w 252"/>
                  <a:gd name="T3" fmla="*/ 0 h 309"/>
                  <a:gd name="T4" fmla="*/ 252 w 252"/>
                  <a:gd name="T5" fmla="*/ 0 h 309"/>
                  <a:gd name="T6" fmla="*/ 67 w 252"/>
                  <a:gd name="T7" fmla="*/ 271 h 309"/>
                  <a:gd name="T8" fmla="*/ 64 w 252"/>
                  <a:gd name="T9" fmla="*/ 287 h 309"/>
                  <a:gd name="T10" fmla="*/ 18 w 252"/>
                  <a:gd name="T11" fmla="*/ 298 h 309"/>
                  <a:gd name="T12" fmla="*/ 4 w 252"/>
                  <a:gd name="T13" fmla="*/ 252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309">
                    <a:moveTo>
                      <a:pt x="4" y="252"/>
                    </a:moveTo>
                    <a:cubicBezTo>
                      <a:pt x="40" y="74"/>
                      <a:pt x="252" y="0"/>
                      <a:pt x="252" y="0"/>
                    </a:cubicBezTo>
                    <a:cubicBezTo>
                      <a:pt x="252" y="0"/>
                      <a:pt x="252" y="0"/>
                      <a:pt x="252" y="0"/>
                    </a:cubicBezTo>
                    <a:cubicBezTo>
                      <a:pt x="252" y="0"/>
                      <a:pt x="68" y="125"/>
                      <a:pt x="67" y="271"/>
                    </a:cubicBezTo>
                    <a:cubicBezTo>
                      <a:pt x="67" y="276"/>
                      <a:pt x="66" y="282"/>
                      <a:pt x="64" y="287"/>
                    </a:cubicBezTo>
                    <a:cubicBezTo>
                      <a:pt x="55" y="301"/>
                      <a:pt x="34" y="309"/>
                      <a:pt x="18" y="298"/>
                    </a:cubicBezTo>
                    <a:cubicBezTo>
                      <a:pt x="4" y="288"/>
                      <a:pt x="0" y="265"/>
                      <a:pt x="4" y="252"/>
                    </a:cubicBezTo>
                    <a:close/>
                  </a:path>
                </a:pathLst>
              </a:cu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43" name="Freeform 156">
                <a:extLst>
                  <a:ext uri="{FF2B5EF4-FFF2-40B4-BE49-F238E27FC236}">
                    <a16:creationId xmlns:a16="http://schemas.microsoft.com/office/drawing/2014/main" id="{CE561DAF-05C0-49E3-952C-C8565A7032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0" y="88"/>
                <a:ext cx="768" cy="418"/>
              </a:xfrm>
              <a:custGeom>
                <a:avLst/>
                <a:gdLst>
                  <a:gd name="T0" fmla="*/ 40 w 366"/>
                  <a:gd name="T1" fmla="*/ 32 h 199"/>
                  <a:gd name="T2" fmla="*/ 366 w 366"/>
                  <a:gd name="T3" fmla="*/ 199 h 199"/>
                  <a:gd name="T4" fmla="*/ 366 w 366"/>
                  <a:gd name="T5" fmla="*/ 199 h 199"/>
                  <a:gd name="T6" fmla="*/ 50 w 366"/>
                  <a:gd name="T7" fmla="*/ 107 h 199"/>
                  <a:gd name="T8" fmla="*/ 35 w 366"/>
                  <a:gd name="T9" fmla="*/ 110 h 199"/>
                  <a:gd name="T10" fmla="*/ 3 w 366"/>
                  <a:gd name="T11" fmla="*/ 65 h 199"/>
                  <a:gd name="T12" fmla="*/ 40 w 366"/>
                  <a:gd name="T13" fmla="*/ 32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66" h="199">
                    <a:moveTo>
                      <a:pt x="40" y="32"/>
                    </a:moveTo>
                    <a:cubicBezTo>
                      <a:pt x="210" y="0"/>
                      <a:pt x="366" y="199"/>
                      <a:pt x="366" y="199"/>
                    </a:cubicBezTo>
                    <a:cubicBezTo>
                      <a:pt x="366" y="199"/>
                      <a:pt x="366" y="199"/>
                      <a:pt x="366" y="199"/>
                    </a:cubicBezTo>
                    <a:cubicBezTo>
                      <a:pt x="366" y="199"/>
                      <a:pt x="178" y="51"/>
                      <a:pt x="50" y="107"/>
                    </a:cubicBezTo>
                    <a:cubicBezTo>
                      <a:pt x="46" y="110"/>
                      <a:pt x="40" y="111"/>
                      <a:pt x="35" y="110"/>
                    </a:cubicBezTo>
                    <a:cubicBezTo>
                      <a:pt x="19" y="107"/>
                      <a:pt x="0" y="86"/>
                      <a:pt x="3" y="65"/>
                    </a:cubicBezTo>
                    <a:cubicBezTo>
                      <a:pt x="6" y="46"/>
                      <a:pt x="26" y="33"/>
                      <a:pt x="40" y="32"/>
                    </a:cubicBezTo>
                    <a:close/>
                  </a:path>
                </a:pathLst>
              </a:cu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44" name="Freeform 157">
                <a:extLst>
                  <a:ext uri="{FF2B5EF4-FFF2-40B4-BE49-F238E27FC236}">
                    <a16:creationId xmlns:a16="http://schemas.microsoft.com/office/drawing/2014/main" id="{7327DD81-4F82-4E48-A3EE-616AB145F8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4" y="327"/>
                <a:ext cx="1024" cy="437"/>
              </a:xfrm>
              <a:custGeom>
                <a:avLst/>
                <a:gdLst>
                  <a:gd name="T0" fmla="*/ 450 w 488"/>
                  <a:gd name="T1" fmla="*/ 51 h 208"/>
                  <a:gd name="T2" fmla="*/ 0 w 488"/>
                  <a:gd name="T3" fmla="*/ 207 h 208"/>
                  <a:gd name="T4" fmla="*/ 0 w 488"/>
                  <a:gd name="T5" fmla="*/ 208 h 208"/>
                  <a:gd name="T6" fmla="*/ 430 w 488"/>
                  <a:gd name="T7" fmla="*/ 134 h 208"/>
                  <a:gd name="T8" fmla="*/ 450 w 488"/>
                  <a:gd name="T9" fmla="*/ 138 h 208"/>
                  <a:gd name="T10" fmla="*/ 485 w 488"/>
                  <a:gd name="T11" fmla="*/ 91 h 208"/>
                  <a:gd name="T12" fmla="*/ 450 w 488"/>
                  <a:gd name="T13" fmla="*/ 51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8" h="208">
                    <a:moveTo>
                      <a:pt x="450" y="51"/>
                    </a:moveTo>
                    <a:cubicBezTo>
                      <a:pt x="226" y="0"/>
                      <a:pt x="0" y="207"/>
                      <a:pt x="0" y="207"/>
                    </a:cubicBezTo>
                    <a:cubicBezTo>
                      <a:pt x="0" y="208"/>
                      <a:pt x="0" y="208"/>
                      <a:pt x="0" y="208"/>
                    </a:cubicBezTo>
                    <a:cubicBezTo>
                      <a:pt x="0" y="208"/>
                      <a:pt x="264" y="59"/>
                      <a:pt x="430" y="134"/>
                    </a:cubicBezTo>
                    <a:cubicBezTo>
                      <a:pt x="436" y="137"/>
                      <a:pt x="443" y="138"/>
                      <a:pt x="450" y="138"/>
                    </a:cubicBezTo>
                    <a:cubicBezTo>
                      <a:pt x="472" y="136"/>
                      <a:pt x="488" y="115"/>
                      <a:pt x="485" y="91"/>
                    </a:cubicBezTo>
                    <a:cubicBezTo>
                      <a:pt x="483" y="70"/>
                      <a:pt x="468" y="53"/>
                      <a:pt x="450" y="51"/>
                    </a:cubicBezTo>
                    <a:close/>
                  </a:path>
                </a:pathLst>
              </a:cu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45" name="Freeform 158">
                <a:extLst>
                  <a:ext uri="{FF2B5EF4-FFF2-40B4-BE49-F238E27FC236}">
                    <a16:creationId xmlns:a16="http://schemas.microsoft.com/office/drawing/2014/main" id="{1690D11A-FE86-40D8-ABD3-CFF3024430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7" y="-263"/>
                <a:ext cx="631" cy="853"/>
              </a:xfrm>
              <a:custGeom>
                <a:avLst/>
                <a:gdLst>
                  <a:gd name="T0" fmla="*/ 235 w 301"/>
                  <a:gd name="T1" fmla="*/ 8 h 406"/>
                  <a:gd name="T2" fmla="*/ 0 w 301"/>
                  <a:gd name="T3" fmla="*/ 406 h 406"/>
                  <a:gd name="T4" fmla="*/ 0 w 301"/>
                  <a:gd name="T5" fmla="*/ 406 h 406"/>
                  <a:gd name="T6" fmla="*/ 262 w 301"/>
                  <a:gd name="T7" fmla="*/ 96 h 406"/>
                  <a:gd name="T8" fmla="*/ 278 w 301"/>
                  <a:gd name="T9" fmla="*/ 88 h 406"/>
                  <a:gd name="T10" fmla="*/ 287 w 301"/>
                  <a:gd name="T11" fmla="*/ 25 h 406"/>
                  <a:gd name="T12" fmla="*/ 235 w 301"/>
                  <a:gd name="T13" fmla="*/ 8 h 4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1" h="406">
                    <a:moveTo>
                      <a:pt x="235" y="8"/>
                    </a:moveTo>
                    <a:cubicBezTo>
                      <a:pt x="53" y="88"/>
                      <a:pt x="0" y="406"/>
                      <a:pt x="0" y="406"/>
                    </a:cubicBezTo>
                    <a:cubicBezTo>
                      <a:pt x="0" y="406"/>
                      <a:pt x="0" y="406"/>
                      <a:pt x="0" y="406"/>
                    </a:cubicBezTo>
                    <a:cubicBezTo>
                      <a:pt x="0" y="406"/>
                      <a:pt x="110" y="121"/>
                      <a:pt x="262" y="96"/>
                    </a:cubicBezTo>
                    <a:cubicBezTo>
                      <a:pt x="268" y="96"/>
                      <a:pt x="273" y="93"/>
                      <a:pt x="278" y="88"/>
                    </a:cubicBezTo>
                    <a:cubicBezTo>
                      <a:pt x="292" y="74"/>
                      <a:pt x="301" y="46"/>
                      <a:pt x="287" y="25"/>
                    </a:cubicBezTo>
                    <a:cubicBezTo>
                      <a:pt x="275" y="7"/>
                      <a:pt x="249" y="0"/>
                      <a:pt x="235" y="8"/>
                    </a:cubicBezTo>
                    <a:close/>
                  </a:path>
                </a:pathLst>
              </a:cu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46" name="Freeform 159">
                <a:extLst>
                  <a:ext uri="{FF2B5EF4-FFF2-40B4-BE49-F238E27FC236}">
                    <a16:creationId xmlns:a16="http://schemas.microsoft.com/office/drawing/2014/main" id="{5C040C7C-6BD8-44F1-A610-230BEEAE03F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8" y="791"/>
                <a:ext cx="699" cy="450"/>
              </a:xfrm>
              <a:custGeom>
                <a:avLst/>
                <a:gdLst>
                  <a:gd name="T0" fmla="*/ 323 w 333"/>
                  <a:gd name="T1" fmla="*/ 147 h 214"/>
                  <a:gd name="T2" fmla="*/ 0 w 333"/>
                  <a:gd name="T3" fmla="*/ 24 h 214"/>
                  <a:gd name="T4" fmla="*/ 0 w 333"/>
                  <a:gd name="T5" fmla="*/ 24 h 214"/>
                  <a:gd name="T6" fmla="*/ 273 w 333"/>
                  <a:gd name="T7" fmla="*/ 191 h 214"/>
                  <a:gd name="T8" fmla="*/ 282 w 333"/>
                  <a:gd name="T9" fmla="*/ 204 h 214"/>
                  <a:gd name="T10" fmla="*/ 324 w 333"/>
                  <a:gd name="T11" fmla="*/ 191 h 214"/>
                  <a:gd name="T12" fmla="*/ 323 w 333"/>
                  <a:gd name="T13" fmla="*/ 147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33" h="214">
                    <a:moveTo>
                      <a:pt x="323" y="147"/>
                    </a:moveTo>
                    <a:cubicBezTo>
                      <a:pt x="223" y="0"/>
                      <a:pt x="0" y="24"/>
                      <a:pt x="0" y="24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216" y="59"/>
                      <a:pt x="273" y="191"/>
                    </a:cubicBezTo>
                    <a:cubicBezTo>
                      <a:pt x="275" y="197"/>
                      <a:pt x="278" y="201"/>
                      <a:pt x="282" y="204"/>
                    </a:cubicBezTo>
                    <a:cubicBezTo>
                      <a:pt x="295" y="214"/>
                      <a:pt x="314" y="208"/>
                      <a:pt x="324" y="191"/>
                    </a:cubicBezTo>
                    <a:cubicBezTo>
                      <a:pt x="333" y="176"/>
                      <a:pt x="332" y="157"/>
                      <a:pt x="323" y="147"/>
                    </a:cubicBezTo>
                    <a:close/>
                  </a:path>
                </a:pathLst>
              </a:cu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47" name="Freeform 160">
                <a:extLst>
                  <a:ext uri="{FF2B5EF4-FFF2-40B4-BE49-F238E27FC236}">
                    <a16:creationId xmlns:a16="http://schemas.microsoft.com/office/drawing/2014/main" id="{7C6442D9-2156-4790-913C-DD33A05C7F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3" y="29"/>
                <a:ext cx="741" cy="445"/>
              </a:xfrm>
              <a:custGeom>
                <a:avLst/>
                <a:gdLst>
                  <a:gd name="T0" fmla="*/ 307 w 353"/>
                  <a:gd name="T1" fmla="*/ 18 h 212"/>
                  <a:gd name="T2" fmla="*/ 0 w 353"/>
                  <a:gd name="T3" fmla="*/ 212 h 212"/>
                  <a:gd name="T4" fmla="*/ 0 w 353"/>
                  <a:gd name="T5" fmla="*/ 212 h 212"/>
                  <a:gd name="T6" fmla="*/ 305 w 353"/>
                  <a:gd name="T7" fmla="*/ 94 h 212"/>
                  <a:gd name="T8" fmla="*/ 321 w 353"/>
                  <a:gd name="T9" fmla="*/ 95 h 212"/>
                  <a:gd name="T10" fmla="*/ 347 w 353"/>
                  <a:gd name="T11" fmla="*/ 49 h 212"/>
                  <a:gd name="T12" fmla="*/ 307 w 353"/>
                  <a:gd name="T13" fmla="*/ 18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3" h="212">
                    <a:moveTo>
                      <a:pt x="307" y="18"/>
                    </a:moveTo>
                    <a:cubicBezTo>
                      <a:pt x="135" y="0"/>
                      <a:pt x="0" y="212"/>
                      <a:pt x="0" y="212"/>
                    </a:cubicBezTo>
                    <a:cubicBezTo>
                      <a:pt x="0" y="212"/>
                      <a:pt x="0" y="212"/>
                      <a:pt x="0" y="212"/>
                    </a:cubicBezTo>
                    <a:cubicBezTo>
                      <a:pt x="0" y="212"/>
                      <a:pt x="172" y="48"/>
                      <a:pt x="305" y="94"/>
                    </a:cubicBezTo>
                    <a:cubicBezTo>
                      <a:pt x="310" y="96"/>
                      <a:pt x="315" y="97"/>
                      <a:pt x="321" y="95"/>
                    </a:cubicBezTo>
                    <a:cubicBezTo>
                      <a:pt x="336" y="91"/>
                      <a:pt x="353" y="70"/>
                      <a:pt x="347" y="49"/>
                    </a:cubicBezTo>
                    <a:cubicBezTo>
                      <a:pt x="343" y="30"/>
                      <a:pt x="321" y="18"/>
                      <a:pt x="307" y="18"/>
                    </a:cubicBezTo>
                    <a:close/>
                  </a:path>
                </a:pathLst>
              </a:cu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48" name="Freeform 161">
                <a:extLst>
                  <a:ext uri="{FF2B5EF4-FFF2-40B4-BE49-F238E27FC236}">
                    <a16:creationId xmlns:a16="http://schemas.microsoft.com/office/drawing/2014/main" id="{43D02798-3EC0-499F-9845-8DC3C1F90A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8" y="424"/>
                <a:ext cx="187" cy="191"/>
              </a:xfrm>
              <a:custGeom>
                <a:avLst/>
                <a:gdLst>
                  <a:gd name="T0" fmla="*/ 63 w 187"/>
                  <a:gd name="T1" fmla="*/ 0 h 191"/>
                  <a:gd name="T2" fmla="*/ 109 w 187"/>
                  <a:gd name="T3" fmla="*/ 57 h 191"/>
                  <a:gd name="T4" fmla="*/ 176 w 187"/>
                  <a:gd name="T5" fmla="*/ 27 h 191"/>
                  <a:gd name="T6" fmla="*/ 139 w 187"/>
                  <a:gd name="T7" fmla="*/ 90 h 191"/>
                  <a:gd name="T8" fmla="*/ 187 w 187"/>
                  <a:gd name="T9" fmla="*/ 147 h 191"/>
                  <a:gd name="T10" fmla="*/ 116 w 187"/>
                  <a:gd name="T11" fmla="*/ 128 h 191"/>
                  <a:gd name="T12" fmla="*/ 76 w 187"/>
                  <a:gd name="T13" fmla="*/ 191 h 191"/>
                  <a:gd name="T14" fmla="*/ 72 w 187"/>
                  <a:gd name="T15" fmla="*/ 117 h 191"/>
                  <a:gd name="T16" fmla="*/ 0 w 187"/>
                  <a:gd name="T17" fmla="*/ 101 h 191"/>
                  <a:gd name="T18" fmla="*/ 67 w 187"/>
                  <a:gd name="T19" fmla="*/ 73 h 191"/>
                  <a:gd name="T20" fmla="*/ 63 w 187"/>
                  <a:gd name="T21" fmla="*/ 0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7" h="191">
                    <a:moveTo>
                      <a:pt x="63" y="0"/>
                    </a:moveTo>
                    <a:lnTo>
                      <a:pt x="109" y="57"/>
                    </a:lnTo>
                    <a:lnTo>
                      <a:pt x="176" y="27"/>
                    </a:lnTo>
                    <a:lnTo>
                      <a:pt x="139" y="90"/>
                    </a:lnTo>
                    <a:lnTo>
                      <a:pt x="187" y="147"/>
                    </a:lnTo>
                    <a:lnTo>
                      <a:pt x="116" y="128"/>
                    </a:lnTo>
                    <a:lnTo>
                      <a:pt x="76" y="191"/>
                    </a:lnTo>
                    <a:lnTo>
                      <a:pt x="72" y="117"/>
                    </a:lnTo>
                    <a:lnTo>
                      <a:pt x="0" y="101"/>
                    </a:lnTo>
                    <a:lnTo>
                      <a:pt x="67" y="73"/>
                    </a:lnTo>
                    <a:lnTo>
                      <a:pt x="63" y="0"/>
                    </a:lnTo>
                    <a:close/>
                  </a:path>
                </a:pathLst>
              </a:cu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49" name="Freeform 162">
                <a:extLst>
                  <a:ext uri="{FF2B5EF4-FFF2-40B4-BE49-F238E27FC236}">
                    <a16:creationId xmlns:a16="http://schemas.microsoft.com/office/drawing/2014/main" id="{9C765487-02DA-406C-94B4-E1F8E6013B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49" y="764"/>
                <a:ext cx="191" cy="185"/>
              </a:xfrm>
              <a:custGeom>
                <a:avLst/>
                <a:gdLst>
                  <a:gd name="T0" fmla="*/ 31 w 191"/>
                  <a:gd name="T1" fmla="*/ 4 h 185"/>
                  <a:gd name="T2" fmla="*/ 92 w 191"/>
                  <a:gd name="T3" fmla="*/ 46 h 185"/>
                  <a:gd name="T4" fmla="*/ 151 w 191"/>
                  <a:gd name="T5" fmla="*/ 0 h 185"/>
                  <a:gd name="T6" fmla="*/ 130 w 191"/>
                  <a:gd name="T7" fmla="*/ 71 h 185"/>
                  <a:gd name="T8" fmla="*/ 191 w 191"/>
                  <a:gd name="T9" fmla="*/ 111 h 185"/>
                  <a:gd name="T10" fmla="*/ 117 w 191"/>
                  <a:gd name="T11" fmla="*/ 113 h 185"/>
                  <a:gd name="T12" fmla="*/ 98 w 191"/>
                  <a:gd name="T13" fmla="*/ 185 h 185"/>
                  <a:gd name="T14" fmla="*/ 73 w 191"/>
                  <a:gd name="T15" fmla="*/ 115 h 185"/>
                  <a:gd name="T16" fmla="*/ 0 w 191"/>
                  <a:gd name="T17" fmla="*/ 118 h 185"/>
                  <a:gd name="T18" fmla="*/ 56 w 191"/>
                  <a:gd name="T19" fmla="*/ 73 h 185"/>
                  <a:gd name="T20" fmla="*/ 31 w 191"/>
                  <a:gd name="T21" fmla="*/ 4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91" h="185">
                    <a:moveTo>
                      <a:pt x="31" y="4"/>
                    </a:moveTo>
                    <a:lnTo>
                      <a:pt x="92" y="46"/>
                    </a:lnTo>
                    <a:lnTo>
                      <a:pt x="151" y="0"/>
                    </a:lnTo>
                    <a:lnTo>
                      <a:pt x="130" y="71"/>
                    </a:lnTo>
                    <a:lnTo>
                      <a:pt x="191" y="111"/>
                    </a:lnTo>
                    <a:lnTo>
                      <a:pt x="117" y="113"/>
                    </a:lnTo>
                    <a:lnTo>
                      <a:pt x="98" y="185"/>
                    </a:lnTo>
                    <a:lnTo>
                      <a:pt x="73" y="115"/>
                    </a:lnTo>
                    <a:lnTo>
                      <a:pt x="0" y="118"/>
                    </a:lnTo>
                    <a:lnTo>
                      <a:pt x="56" y="73"/>
                    </a:lnTo>
                    <a:lnTo>
                      <a:pt x="31" y="4"/>
                    </a:lnTo>
                    <a:close/>
                  </a:path>
                </a:pathLst>
              </a:cu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50" name="Freeform 163">
                <a:extLst>
                  <a:ext uri="{FF2B5EF4-FFF2-40B4-BE49-F238E27FC236}">
                    <a16:creationId xmlns:a16="http://schemas.microsoft.com/office/drawing/2014/main" id="{70F97269-5674-4650-A9DD-2AC678936C9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10" y="1163"/>
                <a:ext cx="208" cy="212"/>
              </a:xfrm>
              <a:custGeom>
                <a:avLst/>
                <a:gdLst>
                  <a:gd name="T0" fmla="*/ 120 w 208"/>
                  <a:gd name="T1" fmla="*/ 0 h 212"/>
                  <a:gd name="T2" fmla="*/ 128 w 208"/>
                  <a:gd name="T3" fmla="*/ 82 h 212"/>
                  <a:gd name="T4" fmla="*/ 208 w 208"/>
                  <a:gd name="T5" fmla="*/ 99 h 212"/>
                  <a:gd name="T6" fmla="*/ 132 w 208"/>
                  <a:gd name="T7" fmla="*/ 132 h 212"/>
                  <a:gd name="T8" fmla="*/ 143 w 208"/>
                  <a:gd name="T9" fmla="*/ 212 h 212"/>
                  <a:gd name="T10" fmla="*/ 88 w 208"/>
                  <a:gd name="T11" fmla="*/ 151 h 212"/>
                  <a:gd name="T12" fmla="*/ 13 w 208"/>
                  <a:gd name="T13" fmla="*/ 185 h 212"/>
                  <a:gd name="T14" fmla="*/ 55 w 208"/>
                  <a:gd name="T15" fmla="*/ 115 h 212"/>
                  <a:gd name="T16" fmla="*/ 0 w 208"/>
                  <a:gd name="T17" fmla="*/ 54 h 212"/>
                  <a:gd name="T18" fmla="*/ 78 w 208"/>
                  <a:gd name="T19" fmla="*/ 71 h 212"/>
                  <a:gd name="T20" fmla="*/ 120 w 208"/>
                  <a:gd name="T21" fmla="*/ 0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8" h="212">
                    <a:moveTo>
                      <a:pt x="120" y="0"/>
                    </a:moveTo>
                    <a:lnTo>
                      <a:pt x="128" y="82"/>
                    </a:lnTo>
                    <a:lnTo>
                      <a:pt x="208" y="99"/>
                    </a:lnTo>
                    <a:lnTo>
                      <a:pt x="132" y="132"/>
                    </a:lnTo>
                    <a:lnTo>
                      <a:pt x="143" y="212"/>
                    </a:lnTo>
                    <a:lnTo>
                      <a:pt x="88" y="151"/>
                    </a:lnTo>
                    <a:lnTo>
                      <a:pt x="13" y="185"/>
                    </a:lnTo>
                    <a:lnTo>
                      <a:pt x="55" y="115"/>
                    </a:lnTo>
                    <a:lnTo>
                      <a:pt x="0" y="54"/>
                    </a:lnTo>
                    <a:lnTo>
                      <a:pt x="78" y="71"/>
                    </a:lnTo>
                    <a:lnTo>
                      <a:pt x="120" y="0"/>
                    </a:lnTo>
                    <a:close/>
                  </a:path>
                </a:pathLst>
              </a:cu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51" name="Freeform 164">
                <a:extLst>
                  <a:ext uri="{FF2B5EF4-FFF2-40B4-BE49-F238E27FC236}">
                    <a16:creationId xmlns:a16="http://schemas.microsoft.com/office/drawing/2014/main" id="{9A2EBD96-9003-4EBF-B8C2-E0A3D49A64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6" y="-206"/>
                <a:ext cx="262" cy="252"/>
              </a:xfrm>
              <a:custGeom>
                <a:avLst/>
                <a:gdLst>
                  <a:gd name="T0" fmla="*/ 46 w 262"/>
                  <a:gd name="T1" fmla="*/ 4 h 252"/>
                  <a:gd name="T2" fmla="*/ 128 w 262"/>
                  <a:gd name="T3" fmla="*/ 61 h 252"/>
                  <a:gd name="T4" fmla="*/ 208 w 262"/>
                  <a:gd name="T5" fmla="*/ 0 h 252"/>
                  <a:gd name="T6" fmla="*/ 178 w 262"/>
                  <a:gd name="T7" fmla="*/ 97 h 252"/>
                  <a:gd name="T8" fmla="*/ 262 w 262"/>
                  <a:gd name="T9" fmla="*/ 153 h 252"/>
                  <a:gd name="T10" fmla="*/ 161 w 262"/>
                  <a:gd name="T11" fmla="*/ 155 h 252"/>
                  <a:gd name="T12" fmla="*/ 132 w 262"/>
                  <a:gd name="T13" fmla="*/ 252 h 252"/>
                  <a:gd name="T14" fmla="*/ 99 w 262"/>
                  <a:gd name="T15" fmla="*/ 158 h 252"/>
                  <a:gd name="T16" fmla="*/ 0 w 262"/>
                  <a:gd name="T17" fmla="*/ 160 h 252"/>
                  <a:gd name="T18" fmla="*/ 80 w 262"/>
                  <a:gd name="T19" fmla="*/ 99 h 252"/>
                  <a:gd name="T20" fmla="*/ 46 w 262"/>
                  <a:gd name="T21" fmla="*/ 4 h 2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2" h="252">
                    <a:moveTo>
                      <a:pt x="46" y="4"/>
                    </a:moveTo>
                    <a:lnTo>
                      <a:pt x="128" y="61"/>
                    </a:lnTo>
                    <a:lnTo>
                      <a:pt x="208" y="0"/>
                    </a:lnTo>
                    <a:lnTo>
                      <a:pt x="178" y="97"/>
                    </a:lnTo>
                    <a:lnTo>
                      <a:pt x="262" y="153"/>
                    </a:lnTo>
                    <a:lnTo>
                      <a:pt x="161" y="155"/>
                    </a:lnTo>
                    <a:lnTo>
                      <a:pt x="132" y="252"/>
                    </a:lnTo>
                    <a:lnTo>
                      <a:pt x="99" y="158"/>
                    </a:lnTo>
                    <a:lnTo>
                      <a:pt x="0" y="160"/>
                    </a:lnTo>
                    <a:lnTo>
                      <a:pt x="80" y="99"/>
                    </a:lnTo>
                    <a:lnTo>
                      <a:pt x="46" y="4"/>
                    </a:lnTo>
                    <a:close/>
                  </a:path>
                </a:pathLst>
              </a:cu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52" name="Freeform 165">
                <a:extLst>
                  <a:ext uri="{FF2B5EF4-FFF2-40B4-BE49-F238E27FC236}">
                    <a16:creationId xmlns:a16="http://schemas.microsoft.com/office/drawing/2014/main" id="{90C4EB75-1673-4469-B297-97A2F4BE7F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1" y="1234"/>
                <a:ext cx="256" cy="261"/>
              </a:xfrm>
              <a:custGeom>
                <a:avLst/>
                <a:gdLst>
                  <a:gd name="T0" fmla="*/ 19 w 256"/>
                  <a:gd name="T1" fmla="*/ 32 h 261"/>
                  <a:gd name="T2" fmla="*/ 109 w 256"/>
                  <a:gd name="T3" fmla="*/ 74 h 261"/>
                  <a:gd name="T4" fmla="*/ 176 w 256"/>
                  <a:gd name="T5" fmla="*/ 0 h 261"/>
                  <a:gd name="T6" fmla="*/ 166 w 256"/>
                  <a:gd name="T7" fmla="*/ 99 h 261"/>
                  <a:gd name="T8" fmla="*/ 256 w 256"/>
                  <a:gd name="T9" fmla="*/ 141 h 261"/>
                  <a:gd name="T10" fmla="*/ 157 w 256"/>
                  <a:gd name="T11" fmla="*/ 160 h 261"/>
                  <a:gd name="T12" fmla="*/ 147 w 256"/>
                  <a:gd name="T13" fmla="*/ 261 h 261"/>
                  <a:gd name="T14" fmla="*/ 96 w 256"/>
                  <a:gd name="T15" fmla="*/ 172 h 261"/>
                  <a:gd name="T16" fmla="*/ 0 w 256"/>
                  <a:gd name="T17" fmla="*/ 191 h 261"/>
                  <a:gd name="T18" fmla="*/ 67 w 256"/>
                  <a:gd name="T19" fmla="*/ 118 h 261"/>
                  <a:gd name="T20" fmla="*/ 19 w 256"/>
                  <a:gd name="T21" fmla="*/ 32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6" h="261">
                    <a:moveTo>
                      <a:pt x="19" y="32"/>
                    </a:moveTo>
                    <a:lnTo>
                      <a:pt x="109" y="74"/>
                    </a:lnTo>
                    <a:lnTo>
                      <a:pt x="176" y="0"/>
                    </a:lnTo>
                    <a:lnTo>
                      <a:pt x="166" y="99"/>
                    </a:lnTo>
                    <a:lnTo>
                      <a:pt x="256" y="141"/>
                    </a:lnTo>
                    <a:lnTo>
                      <a:pt x="157" y="160"/>
                    </a:lnTo>
                    <a:lnTo>
                      <a:pt x="147" y="261"/>
                    </a:lnTo>
                    <a:lnTo>
                      <a:pt x="96" y="172"/>
                    </a:lnTo>
                    <a:lnTo>
                      <a:pt x="0" y="191"/>
                    </a:lnTo>
                    <a:lnTo>
                      <a:pt x="67" y="118"/>
                    </a:lnTo>
                    <a:lnTo>
                      <a:pt x="19" y="32"/>
                    </a:lnTo>
                    <a:close/>
                  </a:path>
                </a:pathLst>
              </a:cu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53" name="Freeform 166">
                <a:extLst>
                  <a:ext uri="{FF2B5EF4-FFF2-40B4-BE49-F238E27FC236}">
                    <a16:creationId xmlns:a16="http://schemas.microsoft.com/office/drawing/2014/main" id="{6197B518-A527-46BC-BD74-489C3F01FF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1" y="1215"/>
                <a:ext cx="260" cy="259"/>
              </a:xfrm>
              <a:custGeom>
                <a:avLst/>
                <a:gdLst>
                  <a:gd name="T0" fmla="*/ 143 w 260"/>
                  <a:gd name="T1" fmla="*/ 0 h 259"/>
                  <a:gd name="T2" fmla="*/ 162 w 260"/>
                  <a:gd name="T3" fmla="*/ 99 h 259"/>
                  <a:gd name="T4" fmla="*/ 260 w 260"/>
                  <a:gd name="T5" fmla="*/ 112 h 259"/>
                  <a:gd name="T6" fmla="*/ 172 w 260"/>
                  <a:gd name="T7" fmla="*/ 160 h 259"/>
                  <a:gd name="T8" fmla="*/ 191 w 260"/>
                  <a:gd name="T9" fmla="*/ 259 h 259"/>
                  <a:gd name="T10" fmla="*/ 118 w 260"/>
                  <a:gd name="T11" fmla="*/ 189 h 259"/>
                  <a:gd name="T12" fmla="*/ 30 w 260"/>
                  <a:gd name="T13" fmla="*/ 235 h 259"/>
                  <a:gd name="T14" fmla="*/ 74 w 260"/>
                  <a:gd name="T15" fmla="*/ 145 h 259"/>
                  <a:gd name="T16" fmla="*/ 0 w 260"/>
                  <a:gd name="T17" fmla="*/ 76 h 259"/>
                  <a:gd name="T18" fmla="*/ 101 w 260"/>
                  <a:gd name="T19" fmla="*/ 91 h 259"/>
                  <a:gd name="T20" fmla="*/ 143 w 260"/>
                  <a:gd name="T21" fmla="*/ 0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0" h="259">
                    <a:moveTo>
                      <a:pt x="143" y="0"/>
                    </a:moveTo>
                    <a:lnTo>
                      <a:pt x="162" y="99"/>
                    </a:lnTo>
                    <a:lnTo>
                      <a:pt x="260" y="112"/>
                    </a:lnTo>
                    <a:lnTo>
                      <a:pt x="172" y="160"/>
                    </a:lnTo>
                    <a:lnTo>
                      <a:pt x="191" y="259"/>
                    </a:lnTo>
                    <a:lnTo>
                      <a:pt x="118" y="189"/>
                    </a:lnTo>
                    <a:lnTo>
                      <a:pt x="30" y="235"/>
                    </a:lnTo>
                    <a:lnTo>
                      <a:pt x="74" y="145"/>
                    </a:lnTo>
                    <a:lnTo>
                      <a:pt x="0" y="76"/>
                    </a:lnTo>
                    <a:lnTo>
                      <a:pt x="101" y="91"/>
                    </a:lnTo>
                    <a:lnTo>
                      <a:pt x="143" y="0"/>
                    </a:lnTo>
                    <a:close/>
                  </a:path>
                </a:pathLst>
              </a:cu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54" name="Freeform 167">
                <a:extLst>
                  <a:ext uri="{FF2B5EF4-FFF2-40B4-BE49-F238E27FC236}">
                    <a16:creationId xmlns:a16="http://schemas.microsoft.com/office/drawing/2014/main" id="{66654ADF-5422-417A-9D8D-34840BB223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3" y="-372"/>
                <a:ext cx="157" cy="160"/>
              </a:xfrm>
              <a:custGeom>
                <a:avLst/>
                <a:gdLst>
                  <a:gd name="T0" fmla="*/ 73 w 75"/>
                  <a:gd name="T1" fmla="*/ 34 h 76"/>
                  <a:gd name="T2" fmla="*/ 42 w 75"/>
                  <a:gd name="T3" fmla="*/ 74 h 76"/>
                  <a:gd name="T4" fmla="*/ 2 w 75"/>
                  <a:gd name="T5" fmla="*/ 43 h 76"/>
                  <a:gd name="T6" fmla="*/ 33 w 75"/>
                  <a:gd name="T7" fmla="*/ 3 h 76"/>
                  <a:gd name="T8" fmla="*/ 73 w 75"/>
                  <a:gd name="T9" fmla="*/ 34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76">
                    <a:moveTo>
                      <a:pt x="73" y="34"/>
                    </a:moveTo>
                    <a:cubicBezTo>
                      <a:pt x="75" y="53"/>
                      <a:pt x="62" y="71"/>
                      <a:pt x="42" y="74"/>
                    </a:cubicBezTo>
                    <a:cubicBezTo>
                      <a:pt x="22" y="76"/>
                      <a:pt x="5" y="62"/>
                      <a:pt x="2" y="43"/>
                    </a:cubicBezTo>
                    <a:cubicBezTo>
                      <a:pt x="0" y="23"/>
                      <a:pt x="13" y="5"/>
                      <a:pt x="33" y="3"/>
                    </a:cubicBezTo>
                    <a:cubicBezTo>
                      <a:pt x="52" y="0"/>
                      <a:pt x="70" y="14"/>
                      <a:pt x="73" y="34"/>
                    </a:cubicBezTo>
                    <a:close/>
                  </a:path>
                </a:pathLst>
              </a:cu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55" name="Freeform 168">
                <a:extLst>
                  <a:ext uri="{FF2B5EF4-FFF2-40B4-BE49-F238E27FC236}">
                    <a16:creationId xmlns:a16="http://schemas.microsoft.com/office/drawing/2014/main" id="{967568C0-5D7F-4134-AFD7-AF004F49C8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5" y="1028"/>
                <a:ext cx="174" cy="175"/>
              </a:xfrm>
              <a:custGeom>
                <a:avLst/>
                <a:gdLst>
                  <a:gd name="T0" fmla="*/ 81 w 83"/>
                  <a:gd name="T1" fmla="*/ 37 h 83"/>
                  <a:gd name="T2" fmla="*/ 47 w 83"/>
                  <a:gd name="T3" fmla="*/ 80 h 83"/>
                  <a:gd name="T4" fmla="*/ 3 w 83"/>
                  <a:gd name="T5" fmla="*/ 47 h 83"/>
                  <a:gd name="T6" fmla="*/ 37 w 83"/>
                  <a:gd name="T7" fmla="*/ 3 h 83"/>
                  <a:gd name="T8" fmla="*/ 81 w 83"/>
                  <a:gd name="T9" fmla="*/ 37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3" h="83">
                    <a:moveTo>
                      <a:pt x="81" y="37"/>
                    </a:moveTo>
                    <a:cubicBezTo>
                      <a:pt x="83" y="58"/>
                      <a:pt x="68" y="78"/>
                      <a:pt x="47" y="80"/>
                    </a:cubicBezTo>
                    <a:cubicBezTo>
                      <a:pt x="25" y="83"/>
                      <a:pt x="5" y="68"/>
                      <a:pt x="3" y="47"/>
                    </a:cubicBezTo>
                    <a:cubicBezTo>
                      <a:pt x="0" y="25"/>
                      <a:pt x="15" y="5"/>
                      <a:pt x="37" y="3"/>
                    </a:cubicBezTo>
                    <a:cubicBezTo>
                      <a:pt x="58" y="0"/>
                      <a:pt x="78" y="15"/>
                      <a:pt x="81" y="37"/>
                    </a:cubicBezTo>
                    <a:close/>
                  </a:path>
                </a:pathLst>
              </a:cu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56" name="Freeform 169">
                <a:extLst>
                  <a:ext uri="{FF2B5EF4-FFF2-40B4-BE49-F238E27FC236}">
                    <a16:creationId xmlns:a16="http://schemas.microsoft.com/office/drawing/2014/main" id="{5A2094B1-8F46-44B3-AD9B-DEF485064C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86" y="1266"/>
                <a:ext cx="159" cy="159"/>
              </a:xfrm>
              <a:custGeom>
                <a:avLst/>
                <a:gdLst>
                  <a:gd name="T0" fmla="*/ 74 w 76"/>
                  <a:gd name="T1" fmla="*/ 33 h 76"/>
                  <a:gd name="T2" fmla="*/ 43 w 76"/>
                  <a:gd name="T3" fmla="*/ 73 h 76"/>
                  <a:gd name="T4" fmla="*/ 3 w 76"/>
                  <a:gd name="T5" fmla="*/ 42 h 76"/>
                  <a:gd name="T6" fmla="*/ 34 w 76"/>
                  <a:gd name="T7" fmla="*/ 2 h 76"/>
                  <a:gd name="T8" fmla="*/ 74 w 76"/>
                  <a:gd name="T9" fmla="*/ 33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6" h="76">
                    <a:moveTo>
                      <a:pt x="74" y="33"/>
                    </a:moveTo>
                    <a:cubicBezTo>
                      <a:pt x="76" y="53"/>
                      <a:pt x="62" y="71"/>
                      <a:pt x="43" y="73"/>
                    </a:cubicBezTo>
                    <a:cubicBezTo>
                      <a:pt x="23" y="76"/>
                      <a:pt x="5" y="62"/>
                      <a:pt x="3" y="42"/>
                    </a:cubicBezTo>
                    <a:cubicBezTo>
                      <a:pt x="0" y="23"/>
                      <a:pt x="14" y="5"/>
                      <a:pt x="34" y="2"/>
                    </a:cubicBezTo>
                    <a:cubicBezTo>
                      <a:pt x="53" y="0"/>
                      <a:pt x="71" y="14"/>
                      <a:pt x="74" y="33"/>
                    </a:cubicBezTo>
                    <a:close/>
                  </a:path>
                </a:pathLst>
              </a:cu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57" name="Freeform 170">
                <a:extLst>
                  <a:ext uri="{FF2B5EF4-FFF2-40B4-BE49-F238E27FC236}">
                    <a16:creationId xmlns:a16="http://schemas.microsoft.com/office/drawing/2014/main" id="{FC595047-FAB9-46BE-A82B-DDCAE01CF68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9" y="-414"/>
                <a:ext cx="174" cy="177"/>
              </a:xfrm>
              <a:custGeom>
                <a:avLst/>
                <a:gdLst>
                  <a:gd name="T0" fmla="*/ 81 w 83"/>
                  <a:gd name="T1" fmla="*/ 37 h 84"/>
                  <a:gd name="T2" fmla="*/ 47 w 83"/>
                  <a:gd name="T3" fmla="*/ 81 h 84"/>
                  <a:gd name="T4" fmla="*/ 3 w 83"/>
                  <a:gd name="T5" fmla="*/ 47 h 84"/>
                  <a:gd name="T6" fmla="*/ 37 w 83"/>
                  <a:gd name="T7" fmla="*/ 3 h 84"/>
                  <a:gd name="T8" fmla="*/ 81 w 83"/>
                  <a:gd name="T9" fmla="*/ 37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3" h="84">
                    <a:moveTo>
                      <a:pt x="81" y="37"/>
                    </a:moveTo>
                    <a:cubicBezTo>
                      <a:pt x="83" y="59"/>
                      <a:pt x="68" y="78"/>
                      <a:pt x="47" y="81"/>
                    </a:cubicBezTo>
                    <a:cubicBezTo>
                      <a:pt x="25" y="84"/>
                      <a:pt x="6" y="69"/>
                      <a:pt x="3" y="47"/>
                    </a:cubicBezTo>
                    <a:cubicBezTo>
                      <a:pt x="0" y="26"/>
                      <a:pt x="15" y="6"/>
                      <a:pt x="37" y="3"/>
                    </a:cubicBezTo>
                    <a:cubicBezTo>
                      <a:pt x="58" y="0"/>
                      <a:pt x="78" y="16"/>
                      <a:pt x="81" y="37"/>
                    </a:cubicBezTo>
                    <a:close/>
                  </a:path>
                </a:pathLst>
              </a:cu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58" name="Freeform 171">
                <a:extLst>
                  <a:ext uri="{FF2B5EF4-FFF2-40B4-BE49-F238E27FC236}">
                    <a16:creationId xmlns:a16="http://schemas.microsoft.com/office/drawing/2014/main" id="{7255B2BC-0BB9-42B9-876B-88B6ABA2A2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4" y="-298"/>
                <a:ext cx="176" cy="176"/>
              </a:xfrm>
              <a:custGeom>
                <a:avLst/>
                <a:gdLst>
                  <a:gd name="T0" fmla="*/ 81 w 84"/>
                  <a:gd name="T1" fmla="*/ 37 h 84"/>
                  <a:gd name="T2" fmla="*/ 47 w 84"/>
                  <a:gd name="T3" fmla="*/ 81 h 84"/>
                  <a:gd name="T4" fmla="*/ 3 w 84"/>
                  <a:gd name="T5" fmla="*/ 47 h 84"/>
                  <a:gd name="T6" fmla="*/ 37 w 84"/>
                  <a:gd name="T7" fmla="*/ 3 h 84"/>
                  <a:gd name="T8" fmla="*/ 81 w 84"/>
                  <a:gd name="T9" fmla="*/ 37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4" h="84">
                    <a:moveTo>
                      <a:pt x="81" y="37"/>
                    </a:moveTo>
                    <a:cubicBezTo>
                      <a:pt x="84" y="59"/>
                      <a:pt x="68" y="78"/>
                      <a:pt x="47" y="81"/>
                    </a:cubicBezTo>
                    <a:cubicBezTo>
                      <a:pt x="25" y="84"/>
                      <a:pt x="6" y="69"/>
                      <a:pt x="3" y="47"/>
                    </a:cubicBezTo>
                    <a:cubicBezTo>
                      <a:pt x="0" y="26"/>
                      <a:pt x="16" y="6"/>
                      <a:pt x="37" y="3"/>
                    </a:cubicBezTo>
                    <a:cubicBezTo>
                      <a:pt x="58" y="0"/>
                      <a:pt x="78" y="16"/>
                      <a:pt x="81" y="37"/>
                    </a:cubicBezTo>
                    <a:close/>
                  </a:path>
                </a:pathLst>
              </a:cu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59" name="Freeform 172">
                <a:extLst>
                  <a:ext uri="{FF2B5EF4-FFF2-40B4-BE49-F238E27FC236}">
                    <a16:creationId xmlns:a16="http://schemas.microsoft.com/office/drawing/2014/main" id="{3DBEFCEB-D3CA-4A7D-94BB-131A8CF108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87" y="686"/>
                <a:ext cx="142" cy="145"/>
              </a:xfrm>
              <a:custGeom>
                <a:avLst/>
                <a:gdLst>
                  <a:gd name="T0" fmla="*/ 66 w 68"/>
                  <a:gd name="T1" fmla="*/ 30 h 69"/>
                  <a:gd name="T2" fmla="*/ 38 w 68"/>
                  <a:gd name="T3" fmla="*/ 66 h 69"/>
                  <a:gd name="T4" fmla="*/ 2 w 68"/>
                  <a:gd name="T5" fmla="*/ 38 h 69"/>
                  <a:gd name="T6" fmla="*/ 30 w 68"/>
                  <a:gd name="T7" fmla="*/ 3 h 69"/>
                  <a:gd name="T8" fmla="*/ 66 w 68"/>
                  <a:gd name="T9" fmla="*/ 30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8" h="69">
                    <a:moveTo>
                      <a:pt x="66" y="30"/>
                    </a:moveTo>
                    <a:cubicBezTo>
                      <a:pt x="68" y="48"/>
                      <a:pt x="55" y="64"/>
                      <a:pt x="38" y="66"/>
                    </a:cubicBezTo>
                    <a:cubicBezTo>
                      <a:pt x="20" y="69"/>
                      <a:pt x="4" y="56"/>
                      <a:pt x="2" y="38"/>
                    </a:cubicBezTo>
                    <a:cubicBezTo>
                      <a:pt x="0" y="21"/>
                      <a:pt x="12" y="5"/>
                      <a:pt x="30" y="3"/>
                    </a:cubicBezTo>
                    <a:cubicBezTo>
                      <a:pt x="47" y="0"/>
                      <a:pt x="63" y="13"/>
                      <a:pt x="66" y="30"/>
                    </a:cubicBezTo>
                    <a:close/>
                  </a:path>
                </a:pathLst>
              </a:cu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60" name="Freeform 173">
                <a:extLst>
                  <a:ext uri="{FF2B5EF4-FFF2-40B4-BE49-F238E27FC236}">
                    <a16:creationId xmlns:a16="http://schemas.microsoft.com/office/drawing/2014/main" id="{C00043F7-A221-472C-A3A1-7C87CEFCFF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46" y="1016"/>
                <a:ext cx="143" cy="143"/>
              </a:xfrm>
              <a:custGeom>
                <a:avLst/>
                <a:gdLst>
                  <a:gd name="T0" fmla="*/ 66 w 68"/>
                  <a:gd name="T1" fmla="*/ 30 h 68"/>
                  <a:gd name="T2" fmla="*/ 38 w 68"/>
                  <a:gd name="T3" fmla="*/ 66 h 68"/>
                  <a:gd name="T4" fmla="*/ 2 w 68"/>
                  <a:gd name="T5" fmla="*/ 38 h 68"/>
                  <a:gd name="T6" fmla="*/ 30 w 68"/>
                  <a:gd name="T7" fmla="*/ 3 h 68"/>
                  <a:gd name="T8" fmla="*/ 66 w 68"/>
                  <a:gd name="T9" fmla="*/ 3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8" h="68">
                    <a:moveTo>
                      <a:pt x="66" y="30"/>
                    </a:moveTo>
                    <a:cubicBezTo>
                      <a:pt x="68" y="48"/>
                      <a:pt x="55" y="64"/>
                      <a:pt x="38" y="66"/>
                    </a:cubicBezTo>
                    <a:cubicBezTo>
                      <a:pt x="20" y="68"/>
                      <a:pt x="4" y="56"/>
                      <a:pt x="2" y="38"/>
                    </a:cubicBezTo>
                    <a:cubicBezTo>
                      <a:pt x="0" y="21"/>
                      <a:pt x="12" y="5"/>
                      <a:pt x="30" y="3"/>
                    </a:cubicBezTo>
                    <a:cubicBezTo>
                      <a:pt x="47" y="0"/>
                      <a:pt x="63" y="13"/>
                      <a:pt x="66" y="30"/>
                    </a:cubicBezTo>
                    <a:close/>
                  </a:path>
                </a:pathLst>
              </a:cu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688FD065-27D3-4A74-A765-3BEC44A1C272}"/>
              </a:ext>
            </a:extLst>
          </p:cNvPr>
          <p:cNvGrpSpPr/>
          <p:nvPr/>
        </p:nvGrpSpPr>
        <p:grpSpPr>
          <a:xfrm>
            <a:off x="3068187" y="3812406"/>
            <a:ext cx="2958294" cy="2491063"/>
            <a:chOff x="6130391" y="3739745"/>
            <a:chExt cx="2958294" cy="2491063"/>
          </a:xfrm>
        </p:grpSpPr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FD1E6C83-2D47-475D-B3B7-B278694654BB}"/>
                </a:ext>
              </a:extLst>
            </p:cNvPr>
            <p:cNvGrpSpPr/>
            <p:nvPr/>
          </p:nvGrpSpPr>
          <p:grpSpPr>
            <a:xfrm>
              <a:off x="6130391" y="3739745"/>
              <a:ext cx="2958294" cy="2491063"/>
              <a:chOff x="6130391" y="3950720"/>
              <a:chExt cx="2958294" cy="2491063"/>
            </a:xfrm>
          </p:grpSpPr>
          <p:sp>
            <p:nvSpPr>
              <p:cNvPr id="1321" name="TextBox 1320">
                <a:extLst>
                  <a:ext uri="{FF2B5EF4-FFF2-40B4-BE49-F238E27FC236}">
                    <a16:creationId xmlns:a16="http://schemas.microsoft.com/office/drawing/2014/main" id="{2D890D34-F05F-41B6-BE54-3F8B2689BE39}"/>
                  </a:ext>
                </a:extLst>
              </p:cNvPr>
              <p:cNvSpPr txBox="1"/>
              <p:nvPr/>
            </p:nvSpPr>
            <p:spPr>
              <a:xfrm>
                <a:off x="6130391" y="5795452"/>
                <a:ext cx="2958294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>
                    <a:solidFill>
                      <a:schemeClr val="tx2"/>
                    </a:solidFill>
                  </a:rPr>
                  <a:t>Sequence your story, don’t try and tell it all at once</a:t>
                </a:r>
              </a:p>
            </p:txBody>
          </p:sp>
          <p:sp>
            <p:nvSpPr>
              <p:cNvPr id="1322" name="Rectangle 1321">
                <a:extLst>
                  <a:ext uri="{FF2B5EF4-FFF2-40B4-BE49-F238E27FC236}">
                    <a16:creationId xmlns:a16="http://schemas.microsoft.com/office/drawing/2014/main" id="{CA57D2CA-A86D-4B21-89C4-D01BBE533D7A}"/>
                  </a:ext>
                </a:extLst>
              </p:cNvPr>
              <p:cNvSpPr/>
              <p:nvPr/>
            </p:nvSpPr>
            <p:spPr>
              <a:xfrm>
                <a:off x="6218946" y="3950720"/>
                <a:ext cx="2781184" cy="1817224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1910" name="Group 1909">
              <a:extLst>
                <a:ext uri="{FF2B5EF4-FFF2-40B4-BE49-F238E27FC236}">
                  <a16:creationId xmlns:a16="http://schemas.microsoft.com/office/drawing/2014/main" id="{FF85C269-B0AD-4A07-B5D3-365646E5E5CC}"/>
                </a:ext>
              </a:extLst>
            </p:cNvPr>
            <p:cNvGrpSpPr/>
            <p:nvPr/>
          </p:nvGrpSpPr>
          <p:grpSpPr>
            <a:xfrm>
              <a:off x="6524635" y="4336142"/>
              <a:ext cx="952612" cy="538057"/>
              <a:chOff x="695400" y="2425708"/>
              <a:chExt cx="568305" cy="320991"/>
            </a:xfrm>
            <a:solidFill>
              <a:schemeClr val="tx2"/>
            </a:solidFill>
          </p:grpSpPr>
          <p:sp>
            <p:nvSpPr>
              <p:cNvPr id="1920" name="Rectangle: Rounded Corners 1919">
                <a:extLst>
                  <a:ext uri="{FF2B5EF4-FFF2-40B4-BE49-F238E27FC236}">
                    <a16:creationId xmlns:a16="http://schemas.microsoft.com/office/drawing/2014/main" id="{2E68D573-33AD-4405-8B23-23EBF233B9D1}"/>
                  </a:ext>
                </a:extLst>
              </p:cNvPr>
              <p:cNvSpPr/>
              <p:nvPr/>
            </p:nvSpPr>
            <p:spPr>
              <a:xfrm>
                <a:off x="695400" y="2425708"/>
                <a:ext cx="568305" cy="320991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921" name="Isosceles Triangle 1920">
                <a:extLst>
                  <a:ext uri="{FF2B5EF4-FFF2-40B4-BE49-F238E27FC236}">
                    <a16:creationId xmlns:a16="http://schemas.microsoft.com/office/drawing/2014/main" id="{D2451CA6-F88C-485D-8332-FBE2F1446ECE}"/>
                  </a:ext>
                </a:extLst>
              </p:cNvPr>
              <p:cNvSpPr/>
              <p:nvPr/>
            </p:nvSpPr>
            <p:spPr>
              <a:xfrm rot="5400000">
                <a:off x="914356" y="2504084"/>
                <a:ext cx="186533" cy="160804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1970" name="Group 1969">
              <a:extLst>
                <a:ext uri="{FF2B5EF4-FFF2-40B4-BE49-F238E27FC236}">
                  <a16:creationId xmlns:a16="http://schemas.microsoft.com/office/drawing/2014/main" id="{49732B25-B812-4AC9-9F13-9B3AAF5EE938}"/>
                </a:ext>
              </a:extLst>
            </p:cNvPr>
            <p:cNvGrpSpPr/>
            <p:nvPr/>
          </p:nvGrpSpPr>
          <p:grpSpPr>
            <a:xfrm>
              <a:off x="7780389" y="4336142"/>
              <a:ext cx="952612" cy="538057"/>
              <a:chOff x="695400" y="2425708"/>
              <a:chExt cx="568305" cy="320991"/>
            </a:xfrm>
            <a:solidFill>
              <a:schemeClr val="tx2"/>
            </a:solidFill>
          </p:grpSpPr>
          <p:sp>
            <p:nvSpPr>
              <p:cNvPr id="1971" name="Rectangle: Rounded Corners 1970">
                <a:extLst>
                  <a:ext uri="{FF2B5EF4-FFF2-40B4-BE49-F238E27FC236}">
                    <a16:creationId xmlns:a16="http://schemas.microsoft.com/office/drawing/2014/main" id="{E8261059-E51B-45F4-ADE8-8F5D65DE669F}"/>
                  </a:ext>
                </a:extLst>
              </p:cNvPr>
              <p:cNvSpPr/>
              <p:nvPr/>
            </p:nvSpPr>
            <p:spPr>
              <a:xfrm>
                <a:off x="695400" y="2425708"/>
                <a:ext cx="568305" cy="320991"/>
              </a:xfrm>
              <a:prstGeom prst="round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  <p:sp>
            <p:nvSpPr>
              <p:cNvPr id="1972" name="Isosceles Triangle 1971">
                <a:extLst>
                  <a:ext uri="{FF2B5EF4-FFF2-40B4-BE49-F238E27FC236}">
                    <a16:creationId xmlns:a16="http://schemas.microsoft.com/office/drawing/2014/main" id="{BC9ECB4B-1CE2-4CCF-9ED3-6ED8C13EACB8}"/>
                  </a:ext>
                </a:extLst>
              </p:cNvPr>
              <p:cNvSpPr/>
              <p:nvPr/>
            </p:nvSpPr>
            <p:spPr>
              <a:xfrm rot="5400000">
                <a:off x="914356" y="2504084"/>
                <a:ext cx="186533" cy="160804"/>
              </a:xfrm>
              <a:prstGeom prst="triangl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15034037-4B76-466B-BE2D-1C23A8BC5023}"/>
                </a:ext>
              </a:extLst>
            </p:cNvPr>
            <p:cNvCxnSpPr>
              <a:stCxn id="1920" idx="3"/>
              <a:endCxn id="1971" idx="1"/>
            </p:cNvCxnSpPr>
            <p:nvPr/>
          </p:nvCxnSpPr>
          <p:spPr>
            <a:xfrm>
              <a:off x="7477247" y="4605171"/>
              <a:ext cx="303142" cy="0"/>
            </a:xfrm>
            <a:prstGeom prst="line">
              <a:avLst/>
            </a:prstGeom>
            <a:ln w="28575">
              <a:solidFill>
                <a:schemeClr val="tx2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9D7C2B3B-D433-495C-9A1C-26F4D1182C37}"/>
              </a:ext>
            </a:extLst>
          </p:cNvPr>
          <p:cNvGrpSpPr/>
          <p:nvPr/>
        </p:nvGrpSpPr>
        <p:grpSpPr>
          <a:xfrm>
            <a:off x="2951084" y="1518054"/>
            <a:ext cx="2958294" cy="2097789"/>
            <a:chOff x="4230731" y="1518054"/>
            <a:chExt cx="2958294" cy="2097789"/>
          </a:xfrm>
        </p:grpSpPr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B1773586-1F3C-4C82-AD35-2F8CE0F39DFE}"/>
                </a:ext>
              </a:extLst>
            </p:cNvPr>
            <p:cNvSpPr txBox="1"/>
            <p:nvPr/>
          </p:nvSpPr>
          <p:spPr>
            <a:xfrm>
              <a:off x="4230731" y="2969512"/>
              <a:ext cx="2958294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dirty="0">
                  <a:solidFill>
                    <a:schemeClr val="tx2"/>
                  </a:solidFill>
                </a:rPr>
                <a:t>Focus on emotional brand building </a:t>
              </a:r>
            </a:p>
          </p:txBody>
        </p:sp>
        <p:grpSp>
          <p:nvGrpSpPr>
            <p:cNvPr id="79" name="Group 152">
              <a:extLst>
                <a:ext uri="{FF2B5EF4-FFF2-40B4-BE49-F238E27FC236}">
                  <a16:creationId xmlns:a16="http://schemas.microsoft.com/office/drawing/2014/main" id="{19FD2CF1-73B9-4939-86F4-3106C697C950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262515" y="1518054"/>
              <a:ext cx="1018575" cy="921833"/>
              <a:chOff x="4971" y="-414"/>
              <a:chExt cx="2169" cy="1963"/>
            </a:xfrm>
          </p:grpSpPr>
          <p:sp>
            <p:nvSpPr>
              <p:cNvPr id="80" name="Freeform 153">
                <a:extLst>
                  <a:ext uri="{FF2B5EF4-FFF2-40B4-BE49-F238E27FC236}">
                    <a16:creationId xmlns:a16="http://schemas.microsoft.com/office/drawing/2014/main" id="{28600A93-6378-436C-8286-9D35E7F02F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88" y="554"/>
                <a:ext cx="1005" cy="439"/>
              </a:xfrm>
              <a:custGeom>
                <a:avLst/>
                <a:gdLst>
                  <a:gd name="T0" fmla="*/ 24 w 479"/>
                  <a:gd name="T1" fmla="*/ 125 h 209"/>
                  <a:gd name="T2" fmla="*/ 479 w 479"/>
                  <a:gd name="T3" fmla="*/ 107 h 209"/>
                  <a:gd name="T4" fmla="*/ 479 w 479"/>
                  <a:gd name="T5" fmla="*/ 108 h 209"/>
                  <a:gd name="T6" fmla="*/ 69 w 479"/>
                  <a:gd name="T7" fmla="*/ 192 h 209"/>
                  <a:gd name="T8" fmla="*/ 52 w 479"/>
                  <a:gd name="T9" fmla="*/ 203 h 209"/>
                  <a:gd name="T10" fmla="*/ 5 w 479"/>
                  <a:gd name="T11" fmla="*/ 173 h 209"/>
                  <a:gd name="T12" fmla="*/ 24 w 479"/>
                  <a:gd name="T13" fmla="*/ 125 h 2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9" h="209">
                    <a:moveTo>
                      <a:pt x="24" y="125"/>
                    </a:moveTo>
                    <a:cubicBezTo>
                      <a:pt x="209" y="0"/>
                      <a:pt x="479" y="107"/>
                      <a:pt x="479" y="107"/>
                    </a:cubicBezTo>
                    <a:cubicBezTo>
                      <a:pt x="479" y="108"/>
                      <a:pt x="479" y="108"/>
                      <a:pt x="479" y="108"/>
                    </a:cubicBezTo>
                    <a:cubicBezTo>
                      <a:pt x="479" y="108"/>
                      <a:pt x="194" y="67"/>
                      <a:pt x="69" y="192"/>
                    </a:cubicBezTo>
                    <a:cubicBezTo>
                      <a:pt x="64" y="197"/>
                      <a:pt x="58" y="201"/>
                      <a:pt x="52" y="203"/>
                    </a:cubicBezTo>
                    <a:cubicBezTo>
                      <a:pt x="32" y="209"/>
                      <a:pt x="11" y="195"/>
                      <a:pt x="5" y="173"/>
                    </a:cubicBezTo>
                    <a:cubicBezTo>
                      <a:pt x="0" y="153"/>
                      <a:pt x="8" y="133"/>
                      <a:pt x="24" y="125"/>
                    </a:cubicBezTo>
                    <a:close/>
                  </a:path>
                </a:pathLst>
              </a:cu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2" name="Freeform 155">
                <a:extLst>
                  <a:ext uri="{FF2B5EF4-FFF2-40B4-BE49-F238E27FC236}">
                    <a16:creationId xmlns:a16="http://schemas.microsoft.com/office/drawing/2014/main" id="{20FFA1F8-46CD-44AF-84B8-7345137D36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24" y="900"/>
                <a:ext cx="529" cy="649"/>
              </a:xfrm>
              <a:custGeom>
                <a:avLst/>
                <a:gdLst>
                  <a:gd name="T0" fmla="*/ 4 w 252"/>
                  <a:gd name="T1" fmla="*/ 252 h 309"/>
                  <a:gd name="T2" fmla="*/ 252 w 252"/>
                  <a:gd name="T3" fmla="*/ 0 h 309"/>
                  <a:gd name="T4" fmla="*/ 252 w 252"/>
                  <a:gd name="T5" fmla="*/ 0 h 309"/>
                  <a:gd name="T6" fmla="*/ 67 w 252"/>
                  <a:gd name="T7" fmla="*/ 271 h 309"/>
                  <a:gd name="T8" fmla="*/ 64 w 252"/>
                  <a:gd name="T9" fmla="*/ 287 h 309"/>
                  <a:gd name="T10" fmla="*/ 18 w 252"/>
                  <a:gd name="T11" fmla="*/ 298 h 309"/>
                  <a:gd name="T12" fmla="*/ 4 w 252"/>
                  <a:gd name="T13" fmla="*/ 252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52" h="309">
                    <a:moveTo>
                      <a:pt x="4" y="252"/>
                    </a:moveTo>
                    <a:cubicBezTo>
                      <a:pt x="40" y="74"/>
                      <a:pt x="252" y="0"/>
                      <a:pt x="252" y="0"/>
                    </a:cubicBezTo>
                    <a:cubicBezTo>
                      <a:pt x="252" y="0"/>
                      <a:pt x="252" y="0"/>
                      <a:pt x="252" y="0"/>
                    </a:cubicBezTo>
                    <a:cubicBezTo>
                      <a:pt x="252" y="0"/>
                      <a:pt x="68" y="125"/>
                      <a:pt x="67" y="271"/>
                    </a:cubicBezTo>
                    <a:cubicBezTo>
                      <a:pt x="67" y="276"/>
                      <a:pt x="66" y="282"/>
                      <a:pt x="64" y="287"/>
                    </a:cubicBezTo>
                    <a:cubicBezTo>
                      <a:pt x="55" y="301"/>
                      <a:pt x="34" y="309"/>
                      <a:pt x="18" y="298"/>
                    </a:cubicBezTo>
                    <a:cubicBezTo>
                      <a:pt x="4" y="288"/>
                      <a:pt x="0" y="265"/>
                      <a:pt x="4" y="252"/>
                    </a:cubicBezTo>
                    <a:close/>
                  </a:path>
                </a:pathLst>
              </a:cu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3" name="Freeform 156">
                <a:extLst>
                  <a:ext uri="{FF2B5EF4-FFF2-40B4-BE49-F238E27FC236}">
                    <a16:creationId xmlns:a16="http://schemas.microsoft.com/office/drawing/2014/main" id="{780587CF-018C-4BFD-951F-21E1AA47F4A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0" y="88"/>
                <a:ext cx="768" cy="418"/>
              </a:xfrm>
              <a:custGeom>
                <a:avLst/>
                <a:gdLst>
                  <a:gd name="T0" fmla="*/ 40 w 366"/>
                  <a:gd name="T1" fmla="*/ 32 h 199"/>
                  <a:gd name="T2" fmla="*/ 366 w 366"/>
                  <a:gd name="T3" fmla="*/ 199 h 199"/>
                  <a:gd name="T4" fmla="*/ 366 w 366"/>
                  <a:gd name="T5" fmla="*/ 199 h 199"/>
                  <a:gd name="T6" fmla="*/ 50 w 366"/>
                  <a:gd name="T7" fmla="*/ 107 h 199"/>
                  <a:gd name="T8" fmla="*/ 35 w 366"/>
                  <a:gd name="T9" fmla="*/ 110 h 199"/>
                  <a:gd name="T10" fmla="*/ 3 w 366"/>
                  <a:gd name="T11" fmla="*/ 65 h 199"/>
                  <a:gd name="T12" fmla="*/ 40 w 366"/>
                  <a:gd name="T13" fmla="*/ 32 h 1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66" h="199">
                    <a:moveTo>
                      <a:pt x="40" y="32"/>
                    </a:moveTo>
                    <a:cubicBezTo>
                      <a:pt x="210" y="0"/>
                      <a:pt x="366" y="199"/>
                      <a:pt x="366" y="199"/>
                    </a:cubicBezTo>
                    <a:cubicBezTo>
                      <a:pt x="366" y="199"/>
                      <a:pt x="366" y="199"/>
                      <a:pt x="366" y="199"/>
                    </a:cubicBezTo>
                    <a:cubicBezTo>
                      <a:pt x="366" y="199"/>
                      <a:pt x="178" y="51"/>
                      <a:pt x="50" y="107"/>
                    </a:cubicBezTo>
                    <a:cubicBezTo>
                      <a:pt x="46" y="110"/>
                      <a:pt x="40" y="111"/>
                      <a:pt x="35" y="110"/>
                    </a:cubicBezTo>
                    <a:cubicBezTo>
                      <a:pt x="19" y="107"/>
                      <a:pt x="0" y="86"/>
                      <a:pt x="3" y="65"/>
                    </a:cubicBezTo>
                    <a:cubicBezTo>
                      <a:pt x="6" y="46"/>
                      <a:pt x="26" y="33"/>
                      <a:pt x="40" y="32"/>
                    </a:cubicBezTo>
                    <a:close/>
                  </a:path>
                </a:pathLst>
              </a:cu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4" name="Freeform 157">
                <a:extLst>
                  <a:ext uri="{FF2B5EF4-FFF2-40B4-BE49-F238E27FC236}">
                    <a16:creationId xmlns:a16="http://schemas.microsoft.com/office/drawing/2014/main" id="{D889C62F-F3F5-4A82-BF91-6190877432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14" y="327"/>
                <a:ext cx="1024" cy="437"/>
              </a:xfrm>
              <a:custGeom>
                <a:avLst/>
                <a:gdLst>
                  <a:gd name="T0" fmla="*/ 450 w 488"/>
                  <a:gd name="T1" fmla="*/ 51 h 208"/>
                  <a:gd name="T2" fmla="*/ 0 w 488"/>
                  <a:gd name="T3" fmla="*/ 207 h 208"/>
                  <a:gd name="T4" fmla="*/ 0 w 488"/>
                  <a:gd name="T5" fmla="*/ 208 h 208"/>
                  <a:gd name="T6" fmla="*/ 430 w 488"/>
                  <a:gd name="T7" fmla="*/ 134 h 208"/>
                  <a:gd name="T8" fmla="*/ 450 w 488"/>
                  <a:gd name="T9" fmla="*/ 138 h 208"/>
                  <a:gd name="T10" fmla="*/ 485 w 488"/>
                  <a:gd name="T11" fmla="*/ 91 h 208"/>
                  <a:gd name="T12" fmla="*/ 450 w 488"/>
                  <a:gd name="T13" fmla="*/ 51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88" h="208">
                    <a:moveTo>
                      <a:pt x="450" y="51"/>
                    </a:moveTo>
                    <a:cubicBezTo>
                      <a:pt x="226" y="0"/>
                      <a:pt x="0" y="207"/>
                      <a:pt x="0" y="207"/>
                    </a:cubicBezTo>
                    <a:cubicBezTo>
                      <a:pt x="0" y="208"/>
                      <a:pt x="0" y="208"/>
                      <a:pt x="0" y="208"/>
                    </a:cubicBezTo>
                    <a:cubicBezTo>
                      <a:pt x="0" y="208"/>
                      <a:pt x="264" y="59"/>
                      <a:pt x="430" y="134"/>
                    </a:cubicBezTo>
                    <a:cubicBezTo>
                      <a:pt x="436" y="137"/>
                      <a:pt x="443" y="138"/>
                      <a:pt x="450" y="138"/>
                    </a:cubicBezTo>
                    <a:cubicBezTo>
                      <a:pt x="472" y="136"/>
                      <a:pt x="488" y="115"/>
                      <a:pt x="485" y="91"/>
                    </a:cubicBezTo>
                    <a:cubicBezTo>
                      <a:pt x="483" y="70"/>
                      <a:pt x="468" y="53"/>
                      <a:pt x="450" y="51"/>
                    </a:cubicBezTo>
                    <a:close/>
                  </a:path>
                </a:pathLst>
              </a:cu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5" name="Freeform 158">
                <a:extLst>
                  <a:ext uri="{FF2B5EF4-FFF2-40B4-BE49-F238E27FC236}">
                    <a16:creationId xmlns:a16="http://schemas.microsoft.com/office/drawing/2014/main" id="{5445DE36-6122-4BCE-A7BA-AFD3CB191D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87" y="-263"/>
                <a:ext cx="631" cy="853"/>
              </a:xfrm>
              <a:custGeom>
                <a:avLst/>
                <a:gdLst>
                  <a:gd name="T0" fmla="*/ 235 w 301"/>
                  <a:gd name="T1" fmla="*/ 8 h 406"/>
                  <a:gd name="T2" fmla="*/ 0 w 301"/>
                  <a:gd name="T3" fmla="*/ 406 h 406"/>
                  <a:gd name="T4" fmla="*/ 0 w 301"/>
                  <a:gd name="T5" fmla="*/ 406 h 406"/>
                  <a:gd name="T6" fmla="*/ 262 w 301"/>
                  <a:gd name="T7" fmla="*/ 96 h 406"/>
                  <a:gd name="T8" fmla="*/ 278 w 301"/>
                  <a:gd name="T9" fmla="*/ 88 h 406"/>
                  <a:gd name="T10" fmla="*/ 287 w 301"/>
                  <a:gd name="T11" fmla="*/ 25 h 406"/>
                  <a:gd name="T12" fmla="*/ 235 w 301"/>
                  <a:gd name="T13" fmla="*/ 8 h 4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1" h="406">
                    <a:moveTo>
                      <a:pt x="235" y="8"/>
                    </a:moveTo>
                    <a:cubicBezTo>
                      <a:pt x="53" y="88"/>
                      <a:pt x="0" y="406"/>
                      <a:pt x="0" y="406"/>
                    </a:cubicBezTo>
                    <a:cubicBezTo>
                      <a:pt x="0" y="406"/>
                      <a:pt x="0" y="406"/>
                      <a:pt x="0" y="406"/>
                    </a:cubicBezTo>
                    <a:cubicBezTo>
                      <a:pt x="0" y="406"/>
                      <a:pt x="110" y="121"/>
                      <a:pt x="262" y="96"/>
                    </a:cubicBezTo>
                    <a:cubicBezTo>
                      <a:pt x="268" y="96"/>
                      <a:pt x="273" y="93"/>
                      <a:pt x="278" y="88"/>
                    </a:cubicBezTo>
                    <a:cubicBezTo>
                      <a:pt x="292" y="74"/>
                      <a:pt x="301" y="46"/>
                      <a:pt x="287" y="25"/>
                    </a:cubicBezTo>
                    <a:cubicBezTo>
                      <a:pt x="275" y="7"/>
                      <a:pt x="249" y="0"/>
                      <a:pt x="235" y="8"/>
                    </a:cubicBezTo>
                    <a:close/>
                  </a:path>
                </a:pathLst>
              </a:cu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6" name="Freeform 159">
                <a:extLst>
                  <a:ext uri="{FF2B5EF4-FFF2-40B4-BE49-F238E27FC236}">
                    <a16:creationId xmlns:a16="http://schemas.microsoft.com/office/drawing/2014/main" id="{3CD2D452-94B4-4ED6-805C-CDF9EFBD7B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8" y="791"/>
                <a:ext cx="699" cy="450"/>
              </a:xfrm>
              <a:custGeom>
                <a:avLst/>
                <a:gdLst>
                  <a:gd name="T0" fmla="*/ 323 w 333"/>
                  <a:gd name="T1" fmla="*/ 147 h 214"/>
                  <a:gd name="T2" fmla="*/ 0 w 333"/>
                  <a:gd name="T3" fmla="*/ 24 h 214"/>
                  <a:gd name="T4" fmla="*/ 0 w 333"/>
                  <a:gd name="T5" fmla="*/ 24 h 214"/>
                  <a:gd name="T6" fmla="*/ 273 w 333"/>
                  <a:gd name="T7" fmla="*/ 191 h 214"/>
                  <a:gd name="T8" fmla="*/ 282 w 333"/>
                  <a:gd name="T9" fmla="*/ 204 h 214"/>
                  <a:gd name="T10" fmla="*/ 324 w 333"/>
                  <a:gd name="T11" fmla="*/ 191 h 214"/>
                  <a:gd name="T12" fmla="*/ 323 w 333"/>
                  <a:gd name="T13" fmla="*/ 147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33" h="214">
                    <a:moveTo>
                      <a:pt x="323" y="147"/>
                    </a:moveTo>
                    <a:cubicBezTo>
                      <a:pt x="223" y="0"/>
                      <a:pt x="0" y="24"/>
                      <a:pt x="0" y="24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4"/>
                      <a:pt x="216" y="59"/>
                      <a:pt x="273" y="191"/>
                    </a:cubicBezTo>
                    <a:cubicBezTo>
                      <a:pt x="275" y="197"/>
                      <a:pt x="278" y="201"/>
                      <a:pt x="282" y="204"/>
                    </a:cubicBezTo>
                    <a:cubicBezTo>
                      <a:pt x="295" y="214"/>
                      <a:pt x="314" y="208"/>
                      <a:pt x="324" y="191"/>
                    </a:cubicBezTo>
                    <a:cubicBezTo>
                      <a:pt x="333" y="176"/>
                      <a:pt x="332" y="157"/>
                      <a:pt x="323" y="147"/>
                    </a:cubicBezTo>
                    <a:close/>
                  </a:path>
                </a:pathLst>
              </a:cu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7" name="Freeform 160">
                <a:extLst>
                  <a:ext uri="{FF2B5EF4-FFF2-40B4-BE49-F238E27FC236}">
                    <a16:creationId xmlns:a16="http://schemas.microsoft.com/office/drawing/2014/main" id="{7C8803F1-96C9-4F6A-B74D-114D302451D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53" y="29"/>
                <a:ext cx="741" cy="445"/>
              </a:xfrm>
              <a:custGeom>
                <a:avLst/>
                <a:gdLst>
                  <a:gd name="T0" fmla="*/ 307 w 353"/>
                  <a:gd name="T1" fmla="*/ 18 h 212"/>
                  <a:gd name="T2" fmla="*/ 0 w 353"/>
                  <a:gd name="T3" fmla="*/ 212 h 212"/>
                  <a:gd name="T4" fmla="*/ 0 w 353"/>
                  <a:gd name="T5" fmla="*/ 212 h 212"/>
                  <a:gd name="T6" fmla="*/ 305 w 353"/>
                  <a:gd name="T7" fmla="*/ 94 h 212"/>
                  <a:gd name="T8" fmla="*/ 321 w 353"/>
                  <a:gd name="T9" fmla="*/ 95 h 212"/>
                  <a:gd name="T10" fmla="*/ 347 w 353"/>
                  <a:gd name="T11" fmla="*/ 49 h 212"/>
                  <a:gd name="T12" fmla="*/ 307 w 353"/>
                  <a:gd name="T13" fmla="*/ 18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53" h="212">
                    <a:moveTo>
                      <a:pt x="307" y="18"/>
                    </a:moveTo>
                    <a:cubicBezTo>
                      <a:pt x="135" y="0"/>
                      <a:pt x="0" y="212"/>
                      <a:pt x="0" y="212"/>
                    </a:cubicBezTo>
                    <a:cubicBezTo>
                      <a:pt x="0" y="212"/>
                      <a:pt x="0" y="212"/>
                      <a:pt x="0" y="212"/>
                    </a:cubicBezTo>
                    <a:cubicBezTo>
                      <a:pt x="0" y="212"/>
                      <a:pt x="172" y="48"/>
                      <a:pt x="305" y="94"/>
                    </a:cubicBezTo>
                    <a:cubicBezTo>
                      <a:pt x="310" y="96"/>
                      <a:pt x="315" y="97"/>
                      <a:pt x="321" y="95"/>
                    </a:cubicBezTo>
                    <a:cubicBezTo>
                      <a:pt x="336" y="91"/>
                      <a:pt x="353" y="70"/>
                      <a:pt x="347" y="49"/>
                    </a:cubicBezTo>
                    <a:cubicBezTo>
                      <a:pt x="343" y="30"/>
                      <a:pt x="321" y="18"/>
                      <a:pt x="307" y="18"/>
                    </a:cubicBezTo>
                    <a:close/>
                  </a:path>
                </a:pathLst>
              </a:cu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8" name="Freeform 161">
                <a:extLst>
                  <a:ext uri="{FF2B5EF4-FFF2-40B4-BE49-F238E27FC236}">
                    <a16:creationId xmlns:a16="http://schemas.microsoft.com/office/drawing/2014/main" id="{3BB4DA44-73BF-4570-8DBB-51395E4E9F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78" y="424"/>
                <a:ext cx="187" cy="191"/>
              </a:xfrm>
              <a:custGeom>
                <a:avLst/>
                <a:gdLst>
                  <a:gd name="T0" fmla="*/ 63 w 187"/>
                  <a:gd name="T1" fmla="*/ 0 h 191"/>
                  <a:gd name="T2" fmla="*/ 109 w 187"/>
                  <a:gd name="T3" fmla="*/ 57 h 191"/>
                  <a:gd name="T4" fmla="*/ 176 w 187"/>
                  <a:gd name="T5" fmla="*/ 27 h 191"/>
                  <a:gd name="T6" fmla="*/ 139 w 187"/>
                  <a:gd name="T7" fmla="*/ 90 h 191"/>
                  <a:gd name="T8" fmla="*/ 187 w 187"/>
                  <a:gd name="T9" fmla="*/ 147 h 191"/>
                  <a:gd name="T10" fmla="*/ 116 w 187"/>
                  <a:gd name="T11" fmla="*/ 128 h 191"/>
                  <a:gd name="T12" fmla="*/ 76 w 187"/>
                  <a:gd name="T13" fmla="*/ 191 h 191"/>
                  <a:gd name="T14" fmla="*/ 72 w 187"/>
                  <a:gd name="T15" fmla="*/ 117 h 191"/>
                  <a:gd name="T16" fmla="*/ 0 w 187"/>
                  <a:gd name="T17" fmla="*/ 101 h 191"/>
                  <a:gd name="T18" fmla="*/ 67 w 187"/>
                  <a:gd name="T19" fmla="*/ 73 h 191"/>
                  <a:gd name="T20" fmla="*/ 63 w 187"/>
                  <a:gd name="T21" fmla="*/ 0 h 1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87" h="191">
                    <a:moveTo>
                      <a:pt x="63" y="0"/>
                    </a:moveTo>
                    <a:lnTo>
                      <a:pt x="109" y="57"/>
                    </a:lnTo>
                    <a:lnTo>
                      <a:pt x="176" y="27"/>
                    </a:lnTo>
                    <a:lnTo>
                      <a:pt x="139" y="90"/>
                    </a:lnTo>
                    <a:lnTo>
                      <a:pt x="187" y="147"/>
                    </a:lnTo>
                    <a:lnTo>
                      <a:pt x="116" y="128"/>
                    </a:lnTo>
                    <a:lnTo>
                      <a:pt x="76" y="191"/>
                    </a:lnTo>
                    <a:lnTo>
                      <a:pt x="72" y="117"/>
                    </a:lnTo>
                    <a:lnTo>
                      <a:pt x="0" y="101"/>
                    </a:lnTo>
                    <a:lnTo>
                      <a:pt x="67" y="73"/>
                    </a:lnTo>
                    <a:lnTo>
                      <a:pt x="63" y="0"/>
                    </a:lnTo>
                    <a:close/>
                  </a:path>
                </a:pathLst>
              </a:cu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89" name="Freeform 162">
                <a:extLst>
                  <a:ext uri="{FF2B5EF4-FFF2-40B4-BE49-F238E27FC236}">
                    <a16:creationId xmlns:a16="http://schemas.microsoft.com/office/drawing/2014/main" id="{C62EEC05-2E32-46A5-B939-18CA49E091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49" y="764"/>
                <a:ext cx="191" cy="185"/>
              </a:xfrm>
              <a:custGeom>
                <a:avLst/>
                <a:gdLst>
                  <a:gd name="T0" fmla="*/ 31 w 191"/>
                  <a:gd name="T1" fmla="*/ 4 h 185"/>
                  <a:gd name="T2" fmla="*/ 92 w 191"/>
                  <a:gd name="T3" fmla="*/ 46 h 185"/>
                  <a:gd name="T4" fmla="*/ 151 w 191"/>
                  <a:gd name="T5" fmla="*/ 0 h 185"/>
                  <a:gd name="T6" fmla="*/ 130 w 191"/>
                  <a:gd name="T7" fmla="*/ 71 h 185"/>
                  <a:gd name="T8" fmla="*/ 191 w 191"/>
                  <a:gd name="T9" fmla="*/ 111 h 185"/>
                  <a:gd name="T10" fmla="*/ 117 w 191"/>
                  <a:gd name="T11" fmla="*/ 113 h 185"/>
                  <a:gd name="T12" fmla="*/ 98 w 191"/>
                  <a:gd name="T13" fmla="*/ 185 h 185"/>
                  <a:gd name="T14" fmla="*/ 73 w 191"/>
                  <a:gd name="T15" fmla="*/ 115 h 185"/>
                  <a:gd name="T16" fmla="*/ 0 w 191"/>
                  <a:gd name="T17" fmla="*/ 118 h 185"/>
                  <a:gd name="T18" fmla="*/ 56 w 191"/>
                  <a:gd name="T19" fmla="*/ 73 h 185"/>
                  <a:gd name="T20" fmla="*/ 31 w 191"/>
                  <a:gd name="T21" fmla="*/ 4 h 1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91" h="185">
                    <a:moveTo>
                      <a:pt x="31" y="4"/>
                    </a:moveTo>
                    <a:lnTo>
                      <a:pt x="92" y="46"/>
                    </a:lnTo>
                    <a:lnTo>
                      <a:pt x="151" y="0"/>
                    </a:lnTo>
                    <a:lnTo>
                      <a:pt x="130" y="71"/>
                    </a:lnTo>
                    <a:lnTo>
                      <a:pt x="191" y="111"/>
                    </a:lnTo>
                    <a:lnTo>
                      <a:pt x="117" y="113"/>
                    </a:lnTo>
                    <a:lnTo>
                      <a:pt x="98" y="185"/>
                    </a:lnTo>
                    <a:lnTo>
                      <a:pt x="73" y="115"/>
                    </a:lnTo>
                    <a:lnTo>
                      <a:pt x="0" y="118"/>
                    </a:lnTo>
                    <a:lnTo>
                      <a:pt x="56" y="73"/>
                    </a:lnTo>
                    <a:lnTo>
                      <a:pt x="31" y="4"/>
                    </a:lnTo>
                    <a:close/>
                  </a:path>
                </a:pathLst>
              </a:cu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0" name="Freeform 163">
                <a:extLst>
                  <a:ext uri="{FF2B5EF4-FFF2-40B4-BE49-F238E27FC236}">
                    <a16:creationId xmlns:a16="http://schemas.microsoft.com/office/drawing/2014/main" id="{CB22A951-703B-4E86-BDB9-FE52071FB5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10" y="1163"/>
                <a:ext cx="208" cy="212"/>
              </a:xfrm>
              <a:custGeom>
                <a:avLst/>
                <a:gdLst>
                  <a:gd name="T0" fmla="*/ 120 w 208"/>
                  <a:gd name="T1" fmla="*/ 0 h 212"/>
                  <a:gd name="T2" fmla="*/ 128 w 208"/>
                  <a:gd name="T3" fmla="*/ 82 h 212"/>
                  <a:gd name="T4" fmla="*/ 208 w 208"/>
                  <a:gd name="T5" fmla="*/ 99 h 212"/>
                  <a:gd name="T6" fmla="*/ 132 w 208"/>
                  <a:gd name="T7" fmla="*/ 132 h 212"/>
                  <a:gd name="T8" fmla="*/ 143 w 208"/>
                  <a:gd name="T9" fmla="*/ 212 h 212"/>
                  <a:gd name="T10" fmla="*/ 88 w 208"/>
                  <a:gd name="T11" fmla="*/ 151 h 212"/>
                  <a:gd name="T12" fmla="*/ 13 w 208"/>
                  <a:gd name="T13" fmla="*/ 185 h 212"/>
                  <a:gd name="T14" fmla="*/ 55 w 208"/>
                  <a:gd name="T15" fmla="*/ 115 h 212"/>
                  <a:gd name="T16" fmla="*/ 0 w 208"/>
                  <a:gd name="T17" fmla="*/ 54 h 212"/>
                  <a:gd name="T18" fmla="*/ 78 w 208"/>
                  <a:gd name="T19" fmla="*/ 71 h 212"/>
                  <a:gd name="T20" fmla="*/ 120 w 208"/>
                  <a:gd name="T21" fmla="*/ 0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8" h="212">
                    <a:moveTo>
                      <a:pt x="120" y="0"/>
                    </a:moveTo>
                    <a:lnTo>
                      <a:pt x="128" y="82"/>
                    </a:lnTo>
                    <a:lnTo>
                      <a:pt x="208" y="99"/>
                    </a:lnTo>
                    <a:lnTo>
                      <a:pt x="132" y="132"/>
                    </a:lnTo>
                    <a:lnTo>
                      <a:pt x="143" y="212"/>
                    </a:lnTo>
                    <a:lnTo>
                      <a:pt x="88" y="151"/>
                    </a:lnTo>
                    <a:lnTo>
                      <a:pt x="13" y="185"/>
                    </a:lnTo>
                    <a:lnTo>
                      <a:pt x="55" y="115"/>
                    </a:lnTo>
                    <a:lnTo>
                      <a:pt x="0" y="54"/>
                    </a:lnTo>
                    <a:lnTo>
                      <a:pt x="78" y="71"/>
                    </a:lnTo>
                    <a:lnTo>
                      <a:pt x="120" y="0"/>
                    </a:lnTo>
                    <a:close/>
                  </a:path>
                </a:pathLst>
              </a:cu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1" name="Freeform 164">
                <a:extLst>
                  <a:ext uri="{FF2B5EF4-FFF2-40B4-BE49-F238E27FC236}">
                    <a16:creationId xmlns:a16="http://schemas.microsoft.com/office/drawing/2014/main" id="{A995F7B0-D444-4FD8-B28D-60558429E2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06" y="-206"/>
                <a:ext cx="262" cy="252"/>
              </a:xfrm>
              <a:custGeom>
                <a:avLst/>
                <a:gdLst>
                  <a:gd name="T0" fmla="*/ 46 w 262"/>
                  <a:gd name="T1" fmla="*/ 4 h 252"/>
                  <a:gd name="T2" fmla="*/ 128 w 262"/>
                  <a:gd name="T3" fmla="*/ 61 h 252"/>
                  <a:gd name="T4" fmla="*/ 208 w 262"/>
                  <a:gd name="T5" fmla="*/ 0 h 252"/>
                  <a:gd name="T6" fmla="*/ 178 w 262"/>
                  <a:gd name="T7" fmla="*/ 97 h 252"/>
                  <a:gd name="T8" fmla="*/ 262 w 262"/>
                  <a:gd name="T9" fmla="*/ 153 h 252"/>
                  <a:gd name="T10" fmla="*/ 161 w 262"/>
                  <a:gd name="T11" fmla="*/ 155 h 252"/>
                  <a:gd name="T12" fmla="*/ 132 w 262"/>
                  <a:gd name="T13" fmla="*/ 252 h 252"/>
                  <a:gd name="T14" fmla="*/ 99 w 262"/>
                  <a:gd name="T15" fmla="*/ 158 h 252"/>
                  <a:gd name="T16" fmla="*/ 0 w 262"/>
                  <a:gd name="T17" fmla="*/ 160 h 252"/>
                  <a:gd name="T18" fmla="*/ 80 w 262"/>
                  <a:gd name="T19" fmla="*/ 99 h 252"/>
                  <a:gd name="T20" fmla="*/ 46 w 262"/>
                  <a:gd name="T21" fmla="*/ 4 h 2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2" h="252">
                    <a:moveTo>
                      <a:pt x="46" y="4"/>
                    </a:moveTo>
                    <a:lnTo>
                      <a:pt x="128" y="61"/>
                    </a:lnTo>
                    <a:lnTo>
                      <a:pt x="208" y="0"/>
                    </a:lnTo>
                    <a:lnTo>
                      <a:pt x="178" y="97"/>
                    </a:lnTo>
                    <a:lnTo>
                      <a:pt x="262" y="153"/>
                    </a:lnTo>
                    <a:lnTo>
                      <a:pt x="161" y="155"/>
                    </a:lnTo>
                    <a:lnTo>
                      <a:pt x="132" y="252"/>
                    </a:lnTo>
                    <a:lnTo>
                      <a:pt x="99" y="158"/>
                    </a:lnTo>
                    <a:lnTo>
                      <a:pt x="0" y="160"/>
                    </a:lnTo>
                    <a:lnTo>
                      <a:pt x="80" y="99"/>
                    </a:lnTo>
                    <a:lnTo>
                      <a:pt x="46" y="4"/>
                    </a:lnTo>
                    <a:close/>
                  </a:path>
                </a:pathLst>
              </a:cu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2" name="Freeform 165">
                <a:extLst>
                  <a:ext uri="{FF2B5EF4-FFF2-40B4-BE49-F238E27FC236}">
                    <a16:creationId xmlns:a16="http://schemas.microsoft.com/office/drawing/2014/main" id="{90C48936-848C-43E9-90B1-891E8122DE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31" y="1234"/>
                <a:ext cx="256" cy="261"/>
              </a:xfrm>
              <a:custGeom>
                <a:avLst/>
                <a:gdLst>
                  <a:gd name="T0" fmla="*/ 19 w 256"/>
                  <a:gd name="T1" fmla="*/ 32 h 261"/>
                  <a:gd name="T2" fmla="*/ 109 w 256"/>
                  <a:gd name="T3" fmla="*/ 74 h 261"/>
                  <a:gd name="T4" fmla="*/ 176 w 256"/>
                  <a:gd name="T5" fmla="*/ 0 h 261"/>
                  <a:gd name="T6" fmla="*/ 166 w 256"/>
                  <a:gd name="T7" fmla="*/ 99 h 261"/>
                  <a:gd name="T8" fmla="*/ 256 w 256"/>
                  <a:gd name="T9" fmla="*/ 141 h 261"/>
                  <a:gd name="T10" fmla="*/ 157 w 256"/>
                  <a:gd name="T11" fmla="*/ 160 h 261"/>
                  <a:gd name="T12" fmla="*/ 147 w 256"/>
                  <a:gd name="T13" fmla="*/ 261 h 261"/>
                  <a:gd name="T14" fmla="*/ 96 w 256"/>
                  <a:gd name="T15" fmla="*/ 172 h 261"/>
                  <a:gd name="T16" fmla="*/ 0 w 256"/>
                  <a:gd name="T17" fmla="*/ 191 h 261"/>
                  <a:gd name="T18" fmla="*/ 67 w 256"/>
                  <a:gd name="T19" fmla="*/ 118 h 261"/>
                  <a:gd name="T20" fmla="*/ 19 w 256"/>
                  <a:gd name="T21" fmla="*/ 32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6" h="261">
                    <a:moveTo>
                      <a:pt x="19" y="32"/>
                    </a:moveTo>
                    <a:lnTo>
                      <a:pt x="109" y="74"/>
                    </a:lnTo>
                    <a:lnTo>
                      <a:pt x="176" y="0"/>
                    </a:lnTo>
                    <a:lnTo>
                      <a:pt x="166" y="99"/>
                    </a:lnTo>
                    <a:lnTo>
                      <a:pt x="256" y="141"/>
                    </a:lnTo>
                    <a:lnTo>
                      <a:pt x="157" y="160"/>
                    </a:lnTo>
                    <a:lnTo>
                      <a:pt x="147" y="261"/>
                    </a:lnTo>
                    <a:lnTo>
                      <a:pt x="96" y="172"/>
                    </a:lnTo>
                    <a:lnTo>
                      <a:pt x="0" y="191"/>
                    </a:lnTo>
                    <a:lnTo>
                      <a:pt x="67" y="118"/>
                    </a:lnTo>
                    <a:lnTo>
                      <a:pt x="19" y="32"/>
                    </a:lnTo>
                    <a:close/>
                  </a:path>
                </a:pathLst>
              </a:cu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3" name="Freeform 166">
                <a:extLst>
                  <a:ext uri="{FF2B5EF4-FFF2-40B4-BE49-F238E27FC236}">
                    <a16:creationId xmlns:a16="http://schemas.microsoft.com/office/drawing/2014/main" id="{40CBF585-8DDD-4DD7-9393-9459C8FF24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71" y="1215"/>
                <a:ext cx="260" cy="259"/>
              </a:xfrm>
              <a:custGeom>
                <a:avLst/>
                <a:gdLst>
                  <a:gd name="T0" fmla="*/ 143 w 260"/>
                  <a:gd name="T1" fmla="*/ 0 h 259"/>
                  <a:gd name="T2" fmla="*/ 162 w 260"/>
                  <a:gd name="T3" fmla="*/ 99 h 259"/>
                  <a:gd name="T4" fmla="*/ 260 w 260"/>
                  <a:gd name="T5" fmla="*/ 112 h 259"/>
                  <a:gd name="T6" fmla="*/ 172 w 260"/>
                  <a:gd name="T7" fmla="*/ 160 h 259"/>
                  <a:gd name="T8" fmla="*/ 191 w 260"/>
                  <a:gd name="T9" fmla="*/ 259 h 259"/>
                  <a:gd name="T10" fmla="*/ 118 w 260"/>
                  <a:gd name="T11" fmla="*/ 189 h 259"/>
                  <a:gd name="T12" fmla="*/ 30 w 260"/>
                  <a:gd name="T13" fmla="*/ 235 h 259"/>
                  <a:gd name="T14" fmla="*/ 74 w 260"/>
                  <a:gd name="T15" fmla="*/ 145 h 259"/>
                  <a:gd name="T16" fmla="*/ 0 w 260"/>
                  <a:gd name="T17" fmla="*/ 76 h 259"/>
                  <a:gd name="T18" fmla="*/ 101 w 260"/>
                  <a:gd name="T19" fmla="*/ 91 h 259"/>
                  <a:gd name="T20" fmla="*/ 143 w 260"/>
                  <a:gd name="T21" fmla="*/ 0 h 2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60" h="259">
                    <a:moveTo>
                      <a:pt x="143" y="0"/>
                    </a:moveTo>
                    <a:lnTo>
                      <a:pt x="162" y="99"/>
                    </a:lnTo>
                    <a:lnTo>
                      <a:pt x="260" y="112"/>
                    </a:lnTo>
                    <a:lnTo>
                      <a:pt x="172" y="160"/>
                    </a:lnTo>
                    <a:lnTo>
                      <a:pt x="191" y="259"/>
                    </a:lnTo>
                    <a:lnTo>
                      <a:pt x="118" y="189"/>
                    </a:lnTo>
                    <a:lnTo>
                      <a:pt x="30" y="235"/>
                    </a:lnTo>
                    <a:lnTo>
                      <a:pt x="74" y="145"/>
                    </a:lnTo>
                    <a:lnTo>
                      <a:pt x="0" y="76"/>
                    </a:lnTo>
                    <a:lnTo>
                      <a:pt x="101" y="91"/>
                    </a:lnTo>
                    <a:lnTo>
                      <a:pt x="143" y="0"/>
                    </a:lnTo>
                    <a:close/>
                  </a:path>
                </a:pathLst>
              </a:cu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4" name="Freeform 167">
                <a:extLst>
                  <a:ext uri="{FF2B5EF4-FFF2-40B4-BE49-F238E27FC236}">
                    <a16:creationId xmlns:a16="http://schemas.microsoft.com/office/drawing/2014/main" id="{FB29F3B6-8124-407A-B937-170AA8AA155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73" y="-372"/>
                <a:ext cx="157" cy="160"/>
              </a:xfrm>
              <a:custGeom>
                <a:avLst/>
                <a:gdLst>
                  <a:gd name="T0" fmla="*/ 73 w 75"/>
                  <a:gd name="T1" fmla="*/ 34 h 76"/>
                  <a:gd name="T2" fmla="*/ 42 w 75"/>
                  <a:gd name="T3" fmla="*/ 74 h 76"/>
                  <a:gd name="T4" fmla="*/ 2 w 75"/>
                  <a:gd name="T5" fmla="*/ 43 h 76"/>
                  <a:gd name="T6" fmla="*/ 33 w 75"/>
                  <a:gd name="T7" fmla="*/ 3 h 76"/>
                  <a:gd name="T8" fmla="*/ 73 w 75"/>
                  <a:gd name="T9" fmla="*/ 34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5" h="76">
                    <a:moveTo>
                      <a:pt x="73" y="34"/>
                    </a:moveTo>
                    <a:cubicBezTo>
                      <a:pt x="75" y="53"/>
                      <a:pt x="62" y="71"/>
                      <a:pt x="42" y="74"/>
                    </a:cubicBezTo>
                    <a:cubicBezTo>
                      <a:pt x="22" y="76"/>
                      <a:pt x="5" y="62"/>
                      <a:pt x="2" y="43"/>
                    </a:cubicBezTo>
                    <a:cubicBezTo>
                      <a:pt x="0" y="23"/>
                      <a:pt x="13" y="5"/>
                      <a:pt x="33" y="3"/>
                    </a:cubicBezTo>
                    <a:cubicBezTo>
                      <a:pt x="52" y="0"/>
                      <a:pt x="70" y="14"/>
                      <a:pt x="73" y="34"/>
                    </a:cubicBezTo>
                    <a:close/>
                  </a:path>
                </a:pathLst>
              </a:cu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5" name="Freeform 168">
                <a:extLst>
                  <a:ext uri="{FF2B5EF4-FFF2-40B4-BE49-F238E27FC236}">
                    <a16:creationId xmlns:a16="http://schemas.microsoft.com/office/drawing/2014/main" id="{DFD5F496-4500-4830-86BC-CB81555C83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095" y="1028"/>
                <a:ext cx="174" cy="175"/>
              </a:xfrm>
              <a:custGeom>
                <a:avLst/>
                <a:gdLst>
                  <a:gd name="T0" fmla="*/ 81 w 83"/>
                  <a:gd name="T1" fmla="*/ 37 h 83"/>
                  <a:gd name="T2" fmla="*/ 47 w 83"/>
                  <a:gd name="T3" fmla="*/ 80 h 83"/>
                  <a:gd name="T4" fmla="*/ 3 w 83"/>
                  <a:gd name="T5" fmla="*/ 47 h 83"/>
                  <a:gd name="T6" fmla="*/ 37 w 83"/>
                  <a:gd name="T7" fmla="*/ 3 h 83"/>
                  <a:gd name="T8" fmla="*/ 81 w 83"/>
                  <a:gd name="T9" fmla="*/ 37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3" h="83">
                    <a:moveTo>
                      <a:pt x="81" y="37"/>
                    </a:moveTo>
                    <a:cubicBezTo>
                      <a:pt x="83" y="58"/>
                      <a:pt x="68" y="78"/>
                      <a:pt x="47" y="80"/>
                    </a:cubicBezTo>
                    <a:cubicBezTo>
                      <a:pt x="25" y="83"/>
                      <a:pt x="5" y="68"/>
                      <a:pt x="3" y="47"/>
                    </a:cubicBezTo>
                    <a:cubicBezTo>
                      <a:pt x="0" y="25"/>
                      <a:pt x="15" y="5"/>
                      <a:pt x="37" y="3"/>
                    </a:cubicBezTo>
                    <a:cubicBezTo>
                      <a:pt x="58" y="0"/>
                      <a:pt x="78" y="15"/>
                      <a:pt x="81" y="37"/>
                    </a:cubicBezTo>
                    <a:close/>
                  </a:path>
                </a:pathLst>
              </a:cu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6" name="Freeform 169">
                <a:extLst>
                  <a:ext uri="{FF2B5EF4-FFF2-40B4-BE49-F238E27FC236}">
                    <a16:creationId xmlns:a16="http://schemas.microsoft.com/office/drawing/2014/main" id="{42BE4280-2D1B-4306-B6BC-156659757D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86" y="1266"/>
                <a:ext cx="159" cy="159"/>
              </a:xfrm>
              <a:custGeom>
                <a:avLst/>
                <a:gdLst>
                  <a:gd name="T0" fmla="*/ 74 w 76"/>
                  <a:gd name="T1" fmla="*/ 33 h 76"/>
                  <a:gd name="T2" fmla="*/ 43 w 76"/>
                  <a:gd name="T3" fmla="*/ 73 h 76"/>
                  <a:gd name="T4" fmla="*/ 3 w 76"/>
                  <a:gd name="T5" fmla="*/ 42 h 76"/>
                  <a:gd name="T6" fmla="*/ 34 w 76"/>
                  <a:gd name="T7" fmla="*/ 2 h 76"/>
                  <a:gd name="T8" fmla="*/ 74 w 76"/>
                  <a:gd name="T9" fmla="*/ 33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76" h="76">
                    <a:moveTo>
                      <a:pt x="74" y="33"/>
                    </a:moveTo>
                    <a:cubicBezTo>
                      <a:pt x="76" y="53"/>
                      <a:pt x="62" y="71"/>
                      <a:pt x="43" y="73"/>
                    </a:cubicBezTo>
                    <a:cubicBezTo>
                      <a:pt x="23" y="76"/>
                      <a:pt x="5" y="62"/>
                      <a:pt x="3" y="42"/>
                    </a:cubicBezTo>
                    <a:cubicBezTo>
                      <a:pt x="0" y="23"/>
                      <a:pt x="14" y="5"/>
                      <a:pt x="34" y="2"/>
                    </a:cubicBezTo>
                    <a:cubicBezTo>
                      <a:pt x="53" y="0"/>
                      <a:pt x="71" y="14"/>
                      <a:pt x="74" y="33"/>
                    </a:cubicBezTo>
                    <a:close/>
                  </a:path>
                </a:pathLst>
              </a:cu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7" name="Freeform 170">
                <a:extLst>
                  <a:ext uri="{FF2B5EF4-FFF2-40B4-BE49-F238E27FC236}">
                    <a16:creationId xmlns:a16="http://schemas.microsoft.com/office/drawing/2014/main" id="{B361D3DD-A0F4-4355-9D6F-4838AB19EF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19" y="-414"/>
                <a:ext cx="174" cy="177"/>
              </a:xfrm>
              <a:custGeom>
                <a:avLst/>
                <a:gdLst>
                  <a:gd name="T0" fmla="*/ 81 w 83"/>
                  <a:gd name="T1" fmla="*/ 37 h 84"/>
                  <a:gd name="T2" fmla="*/ 47 w 83"/>
                  <a:gd name="T3" fmla="*/ 81 h 84"/>
                  <a:gd name="T4" fmla="*/ 3 w 83"/>
                  <a:gd name="T5" fmla="*/ 47 h 84"/>
                  <a:gd name="T6" fmla="*/ 37 w 83"/>
                  <a:gd name="T7" fmla="*/ 3 h 84"/>
                  <a:gd name="T8" fmla="*/ 81 w 83"/>
                  <a:gd name="T9" fmla="*/ 37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3" h="84">
                    <a:moveTo>
                      <a:pt x="81" y="37"/>
                    </a:moveTo>
                    <a:cubicBezTo>
                      <a:pt x="83" y="59"/>
                      <a:pt x="68" y="78"/>
                      <a:pt x="47" y="81"/>
                    </a:cubicBezTo>
                    <a:cubicBezTo>
                      <a:pt x="25" y="84"/>
                      <a:pt x="6" y="69"/>
                      <a:pt x="3" y="47"/>
                    </a:cubicBezTo>
                    <a:cubicBezTo>
                      <a:pt x="0" y="26"/>
                      <a:pt x="15" y="6"/>
                      <a:pt x="37" y="3"/>
                    </a:cubicBezTo>
                    <a:cubicBezTo>
                      <a:pt x="58" y="0"/>
                      <a:pt x="78" y="16"/>
                      <a:pt x="81" y="37"/>
                    </a:cubicBezTo>
                    <a:close/>
                  </a:path>
                </a:pathLst>
              </a:cu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8" name="Freeform 171">
                <a:extLst>
                  <a:ext uri="{FF2B5EF4-FFF2-40B4-BE49-F238E27FC236}">
                    <a16:creationId xmlns:a16="http://schemas.microsoft.com/office/drawing/2014/main" id="{5188C1C8-7815-4DE7-87CA-E548C175FF2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34" y="-298"/>
                <a:ext cx="176" cy="176"/>
              </a:xfrm>
              <a:custGeom>
                <a:avLst/>
                <a:gdLst>
                  <a:gd name="T0" fmla="*/ 81 w 84"/>
                  <a:gd name="T1" fmla="*/ 37 h 84"/>
                  <a:gd name="T2" fmla="*/ 47 w 84"/>
                  <a:gd name="T3" fmla="*/ 81 h 84"/>
                  <a:gd name="T4" fmla="*/ 3 w 84"/>
                  <a:gd name="T5" fmla="*/ 47 h 84"/>
                  <a:gd name="T6" fmla="*/ 37 w 84"/>
                  <a:gd name="T7" fmla="*/ 3 h 84"/>
                  <a:gd name="T8" fmla="*/ 81 w 84"/>
                  <a:gd name="T9" fmla="*/ 37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4" h="84">
                    <a:moveTo>
                      <a:pt x="81" y="37"/>
                    </a:moveTo>
                    <a:cubicBezTo>
                      <a:pt x="84" y="59"/>
                      <a:pt x="68" y="78"/>
                      <a:pt x="47" y="81"/>
                    </a:cubicBezTo>
                    <a:cubicBezTo>
                      <a:pt x="25" y="84"/>
                      <a:pt x="6" y="69"/>
                      <a:pt x="3" y="47"/>
                    </a:cubicBezTo>
                    <a:cubicBezTo>
                      <a:pt x="0" y="26"/>
                      <a:pt x="16" y="6"/>
                      <a:pt x="37" y="3"/>
                    </a:cubicBezTo>
                    <a:cubicBezTo>
                      <a:pt x="58" y="0"/>
                      <a:pt x="78" y="16"/>
                      <a:pt x="81" y="37"/>
                    </a:cubicBezTo>
                    <a:close/>
                  </a:path>
                </a:pathLst>
              </a:cu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99" name="Freeform 172">
                <a:extLst>
                  <a:ext uri="{FF2B5EF4-FFF2-40B4-BE49-F238E27FC236}">
                    <a16:creationId xmlns:a16="http://schemas.microsoft.com/office/drawing/2014/main" id="{1BB827B6-743A-4CC4-90CA-92D8BEB1D9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87" y="686"/>
                <a:ext cx="142" cy="145"/>
              </a:xfrm>
              <a:custGeom>
                <a:avLst/>
                <a:gdLst>
                  <a:gd name="T0" fmla="*/ 66 w 68"/>
                  <a:gd name="T1" fmla="*/ 30 h 69"/>
                  <a:gd name="T2" fmla="*/ 38 w 68"/>
                  <a:gd name="T3" fmla="*/ 66 h 69"/>
                  <a:gd name="T4" fmla="*/ 2 w 68"/>
                  <a:gd name="T5" fmla="*/ 38 h 69"/>
                  <a:gd name="T6" fmla="*/ 30 w 68"/>
                  <a:gd name="T7" fmla="*/ 3 h 69"/>
                  <a:gd name="T8" fmla="*/ 66 w 68"/>
                  <a:gd name="T9" fmla="*/ 30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8" h="69">
                    <a:moveTo>
                      <a:pt x="66" y="30"/>
                    </a:moveTo>
                    <a:cubicBezTo>
                      <a:pt x="68" y="48"/>
                      <a:pt x="55" y="64"/>
                      <a:pt x="38" y="66"/>
                    </a:cubicBezTo>
                    <a:cubicBezTo>
                      <a:pt x="20" y="69"/>
                      <a:pt x="4" y="56"/>
                      <a:pt x="2" y="38"/>
                    </a:cubicBezTo>
                    <a:cubicBezTo>
                      <a:pt x="0" y="21"/>
                      <a:pt x="12" y="5"/>
                      <a:pt x="30" y="3"/>
                    </a:cubicBezTo>
                    <a:cubicBezTo>
                      <a:pt x="47" y="0"/>
                      <a:pt x="63" y="13"/>
                      <a:pt x="66" y="30"/>
                    </a:cubicBezTo>
                    <a:close/>
                  </a:path>
                </a:pathLst>
              </a:cu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00" name="Freeform 173">
                <a:extLst>
                  <a:ext uri="{FF2B5EF4-FFF2-40B4-BE49-F238E27FC236}">
                    <a16:creationId xmlns:a16="http://schemas.microsoft.com/office/drawing/2014/main" id="{4EC464DB-893F-4770-AE0A-F9DE4AD9D46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46" y="1016"/>
                <a:ext cx="143" cy="143"/>
              </a:xfrm>
              <a:custGeom>
                <a:avLst/>
                <a:gdLst>
                  <a:gd name="T0" fmla="*/ 66 w 68"/>
                  <a:gd name="T1" fmla="*/ 30 h 68"/>
                  <a:gd name="T2" fmla="*/ 38 w 68"/>
                  <a:gd name="T3" fmla="*/ 66 h 68"/>
                  <a:gd name="T4" fmla="*/ 2 w 68"/>
                  <a:gd name="T5" fmla="*/ 38 h 68"/>
                  <a:gd name="T6" fmla="*/ 30 w 68"/>
                  <a:gd name="T7" fmla="*/ 3 h 68"/>
                  <a:gd name="T8" fmla="*/ 66 w 68"/>
                  <a:gd name="T9" fmla="*/ 30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8" h="68">
                    <a:moveTo>
                      <a:pt x="66" y="30"/>
                    </a:moveTo>
                    <a:cubicBezTo>
                      <a:pt x="68" y="48"/>
                      <a:pt x="55" y="64"/>
                      <a:pt x="38" y="66"/>
                    </a:cubicBezTo>
                    <a:cubicBezTo>
                      <a:pt x="20" y="68"/>
                      <a:pt x="4" y="56"/>
                      <a:pt x="2" y="38"/>
                    </a:cubicBezTo>
                    <a:cubicBezTo>
                      <a:pt x="0" y="21"/>
                      <a:pt x="12" y="5"/>
                      <a:pt x="30" y="3"/>
                    </a:cubicBezTo>
                    <a:cubicBezTo>
                      <a:pt x="47" y="0"/>
                      <a:pt x="63" y="13"/>
                      <a:pt x="66" y="30"/>
                    </a:cubicBezTo>
                    <a:close/>
                  </a:path>
                </a:pathLst>
              </a:custGeom>
              <a:grpFill/>
              <a:ln w="19050" cap="rnd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-FR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13" name="Rectangle 12">
            <a:extLst>
              <a:ext uri="{FF2B5EF4-FFF2-40B4-BE49-F238E27FC236}">
                <a16:creationId xmlns:a16="http://schemas.microsoft.com/office/drawing/2014/main" id="{56588ABD-F5B1-4DF4-BCF4-649197C0D792}"/>
              </a:ext>
            </a:extLst>
          </p:cNvPr>
          <p:cNvSpPr/>
          <p:nvPr/>
        </p:nvSpPr>
        <p:spPr>
          <a:xfrm>
            <a:off x="3028173" y="1124780"/>
            <a:ext cx="2807447" cy="174115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F751E8B9-B450-4B42-90E2-18CF067ADD1E}"/>
              </a:ext>
            </a:extLst>
          </p:cNvPr>
          <p:cNvGrpSpPr/>
          <p:nvPr/>
        </p:nvGrpSpPr>
        <p:grpSpPr>
          <a:xfrm>
            <a:off x="6096000" y="3739745"/>
            <a:ext cx="2958294" cy="2491063"/>
            <a:chOff x="7609538" y="1124780"/>
            <a:chExt cx="2958294" cy="2491063"/>
          </a:xfrm>
        </p:grpSpPr>
        <p:grpSp>
          <p:nvGrpSpPr>
            <p:cNvPr id="109" name="Group 108">
              <a:extLst>
                <a:ext uri="{FF2B5EF4-FFF2-40B4-BE49-F238E27FC236}">
                  <a16:creationId xmlns:a16="http://schemas.microsoft.com/office/drawing/2014/main" id="{962D8B87-E72D-43A5-A966-E024F4D5B2C4}"/>
                </a:ext>
              </a:extLst>
            </p:cNvPr>
            <p:cNvGrpSpPr/>
            <p:nvPr/>
          </p:nvGrpSpPr>
          <p:grpSpPr>
            <a:xfrm>
              <a:off x="7609538" y="1124780"/>
              <a:ext cx="2958294" cy="2491063"/>
              <a:chOff x="7609538" y="1278405"/>
              <a:chExt cx="2958294" cy="2491063"/>
            </a:xfrm>
          </p:grpSpPr>
          <p:sp>
            <p:nvSpPr>
              <p:cNvPr id="120" name="TextBox 119">
                <a:extLst>
                  <a:ext uri="{FF2B5EF4-FFF2-40B4-BE49-F238E27FC236}">
                    <a16:creationId xmlns:a16="http://schemas.microsoft.com/office/drawing/2014/main" id="{E91EBAB4-9063-449A-BDF7-757721923D1D}"/>
                  </a:ext>
                </a:extLst>
              </p:cNvPr>
              <p:cNvSpPr txBox="1"/>
              <p:nvPr/>
            </p:nvSpPr>
            <p:spPr>
              <a:xfrm>
                <a:off x="7609538" y="3123137"/>
                <a:ext cx="2958294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>
                    <a:solidFill>
                      <a:schemeClr val="tx2"/>
                    </a:solidFill>
                  </a:rPr>
                  <a:t>Use the Power of You, and “brand without branding”</a:t>
                </a:r>
              </a:p>
            </p:txBody>
          </p:sp>
          <p:sp>
            <p:nvSpPr>
              <p:cNvPr id="121" name="Rectangle 120">
                <a:extLst>
                  <a:ext uri="{FF2B5EF4-FFF2-40B4-BE49-F238E27FC236}">
                    <a16:creationId xmlns:a16="http://schemas.microsoft.com/office/drawing/2014/main" id="{1D79591C-A068-44E1-A42F-1F46B38A57B7}"/>
                  </a:ext>
                </a:extLst>
              </p:cNvPr>
              <p:cNvSpPr/>
              <p:nvPr/>
            </p:nvSpPr>
            <p:spPr>
              <a:xfrm>
                <a:off x="7698093" y="1278405"/>
                <a:ext cx="2781184" cy="1817224"/>
              </a:xfrm>
              <a:prstGeom prst="rect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grpSp>
          <p:nvGrpSpPr>
            <p:cNvPr id="110" name="Group 74">
              <a:extLst>
                <a:ext uri="{FF2B5EF4-FFF2-40B4-BE49-F238E27FC236}">
                  <a16:creationId xmlns:a16="http://schemas.microsoft.com/office/drawing/2014/main" id="{2C5FE27D-E6A3-48C3-8720-98B2033E82ED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8692522" y="1567243"/>
              <a:ext cx="792325" cy="895273"/>
              <a:chOff x="1934" y="10"/>
              <a:chExt cx="3802" cy="4296"/>
            </a:xfrm>
            <a:solidFill>
              <a:schemeClr val="bg1"/>
            </a:solidFill>
          </p:grpSpPr>
          <p:sp>
            <p:nvSpPr>
              <p:cNvPr id="111" name="Freeform 75">
                <a:extLst>
                  <a:ext uri="{FF2B5EF4-FFF2-40B4-BE49-F238E27FC236}">
                    <a16:creationId xmlns:a16="http://schemas.microsoft.com/office/drawing/2014/main" id="{9394BCD7-A56A-437F-AF82-E850637DDF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34" y="10"/>
                <a:ext cx="3578" cy="4296"/>
              </a:xfrm>
              <a:custGeom>
                <a:avLst/>
                <a:gdLst>
                  <a:gd name="T0" fmla="*/ 1206 w 1709"/>
                  <a:gd name="T1" fmla="*/ 13 h 2050"/>
                  <a:gd name="T2" fmla="*/ 1030 w 1709"/>
                  <a:gd name="T3" fmla="*/ 3 h 2050"/>
                  <a:gd name="T4" fmla="*/ 700 w 1709"/>
                  <a:gd name="T5" fmla="*/ 51 h 2050"/>
                  <a:gd name="T6" fmla="*/ 357 w 1709"/>
                  <a:gd name="T7" fmla="*/ 216 h 2050"/>
                  <a:gd name="T8" fmla="*/ 221 w 1709"/>
                  <a:gd name="T9" fmla="*/ 439 h 2050"/>
                  <a:gd name="T10" fmla="*/ 190 w 1709"/>
                  <a:gd name="T11" fmla="*/ 548 h 2050"/>
                  <a:gd name="T12" fmla="*/ 187 w 1709"/>
                  <a:gd name="T13" fmla="*/ 563 h 2050"/>
                  <a:gd name="T14" fmla="*/ 158 w 1709"/>
                  <a:gd name="T15" fmla="*/ 640 h 2050"/>
                  <a:gd name="T16" fmla="*/ 138 w 1709"/>
                  <a:gd name="T17" fmla="*/ 688 h 2050"/>
                  <a:gd name="T18" fmla="*/ 129 w 1709"/>
                  <a:gd name="T19" fmla="*/ 745 h 2050"/>
                  <a:gd name="T20" fmla="*/ 178 w 1709"/>
                  <a:gd name="T21" fmla="*/ 821 h 2050"/>
                  <a:gd name="T22" fmla="*/ 206 w 1709"/>
                  <a:gd name="T23" fmla="*/ 856 h 2050"/>
                  <a:gd name="T24" fmla="*/ 200 w 1709"/>
                  <a:gd name="T25" fmla="*/ 871 h 2050"/>
                  <a:gd name="T26" fmla="*/ 51 w 1709"/>
                  <a:gd name="T27" fmla="*/ 1114 h 2050"/>
                  <a:gd name="T28" fmla="*/ 6 w 1709"/>
                  <a:gd name="T29" fmla="*/ 1214 h 2050"/>
                  <a:gd name="T30" fmla="*/ 55 w 1709"/>
                  <a:gd name="T31" fmla="*/ 1278 h 2050"/>
                  <a:gd name="T32" fmla="*/ 55 w 1709"/>
                  <a:gd name="T33" fmla="*/ 1278 h 2050"/>
                  <a:gd name="T34" fmla="*/ 91 w 1709"/>
                  <a:gd name="T35" fmla="*/ 1299 h 2050"/>
                  <a:gd name="T36" fmla="*/ 132 w 1709"/>
                  <a:gd name="T37" fmla="*/ 1328 h 2050"/>
                  <a:gd name="T38" fmla="*/ 128 w 1709"/>
                  <a:gd name="T39" fmla="*/ 1362 h 2050"/>
                  <a:gd name="T40" fmla="*/ 113 w 1709"/>
                  <a:gd name="T41" fmla="*/ 1391 h 2050"/>
                  <a:gd name="T42" fmla="*/ 111 w 1709"/>
                  <a:gd name="T43" fmla="*/ 1476 h 2050"/>
                  <a:gd name="T44" fmla="*/ 143 w 1709"/>
                  <a:gd name="T45" fmla="*/ 1501 h 2050"/>
                  <a:gd name="T46" fmla="*/ 132 w 1709"/>
                  <a:gd name="T47" fmla="*/ 1550 h 2050"/>
                  <a:gd name="T48" fmla="*/ 152 w 1709"/>
                  <a:gd name="T49" fmla="*/ 1584 h 2050"/>
                  <a:gd name="T50" fmla="*/ 176 w 1709"/>
                  <a:gd name="T51" fmla="*/ 1599 h 2050"/>
                  <a:gd name="T52" fmla="*/ 206 w 1709"/>
                  <a:gd name="T53" fmla="*/ 1626 h 2050"/>
                  <a:gd name="T54" fmla="*/ 203 w 1709"/>
                  <a:gd name="T55" fmla="*/ 1667 h 2050"/>
                  <a:gd name="T56" fmla="*/ 198 w 1709"/>
                  <a:gd name="T57" fmla="*/ 1694 h 2050"/>
                  <a:gd name="T58" fmla="*/ 209 w 1709"/>
                  <a:gd name="T59" fmla="*/ 1786 h 2050"/>
                  <a:gd name="T60" fmla="*/ 330 w 1709"/>
                  <a:gd name="T61" fmla="*/ 1879 h 2050"/>
                  <a:gd name="T62" fmla="*/ 358 w 1709"/>
                  <a:gd name="T63" fmla="*/ 1876 h 2050"/>
                  <a:gd name="T64" fmla="*/ 646 w 1709"/>
                  <a:gd name="T65" fmla="*/ 1790 h 2050"/>
                  <a:gd name="T66" fmla="*/ 784 w 1709"/>
                  <a:gd name="T67" fmla="*/ 2024 h 2050"/>
                  <a:gd name="T68" fmla="*/ 817 w 1709"/>
                  <a:gd name="T69" fmla="*/ 2050 h 2050"/>
                  <a:gd name="T70" fmla="*/ 1674 w 1709"/>
                  <a:gd name="T71" fmla="*/ 2048 h 2050"/>
                  <a:gd name="T72" fmla="*/ 1701 w 1709"/>
                  <a:gd name="T73" fmla="*/ 2034 h 2050"/>
                  <a:gd name="T74" fmla="*/ 1706 w 1709"/>
                  <a:gd name="T75" fmla="*/ 2003 h 2050"/>
                  <a:gd name="T76" fmla="*/ 1671 w 1709"/>
                  <a:gd name="T77" fmla="*/ 1938 h 2050"/>
                  <a:gd name="T78" fmla="*/ 1649 w 1709"/>
                  <a:gd name="T79" fmla="*/ 1901 h 2050"/>
                  <a:gd name="T80" fmla="*/ 1611 w 1709"/>
                  <a:gd name="T81" fmla="*/ 1804 h 2050"/>
                  <a:gd name="T82" fmla="*/ 1571 w 1709"/>
                  <a:gd name="T83" fmla="*/ 1605 h 2050"/>
                  <a:gd name="T84" fmla="*/ 55 w 1709"/>
                  <a:gd name="T85" fmla="*/ 1278 h 2050"/>
                  <a:gd name="T86" fmla="*/ 55 w 1709"/>
                  <a:gd name="T87" fmla="*/ 1278 h 20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709" h="2050">
                    <a:moveTo>
                      <a:pt x="1206" y="13"/>
                    </a:moveTo>
                    <a:cubicBezTo>
                      <a:pt x="1148" y="3"/>
                      <a:pt x="1089" y="0"/>
                      <a:pt x="1030" y="3"/>
                    </a:cubicBezTo>
                    <a:cubicBezTo>
                      <a:pt x="919" y="11"/>
                      <a:pt x="808" y="27"/>
                      <a:pt x="700" y="51"/>
                    </a:cubicBezTo>
                    <a:cubicBezTo>
                      <a:pt x="546" y="81"/>
                      <a:pt x="434" y="135"/>
                      <a:pt x="357" y="216"/>
                    </a:cubicBezTo>
                    <a:cubicBezTo>
                      <a:pt x="297" y="280"/>
                      <a:pt x="251" y="356"/>
                      <a:pt x="221" y="439"/>
                    </a:cubicBezTo>
                    <a:cubicBezTo>
                      <a:pt x="208" y="475"/>
                      <a:pt x="198" y="511"/>
                      <a:pt x="190" y="548"/>
                    </a:cubicBezTo>
                    <a:cubicBezTo>
                      <a:pt x="187" y="563"/>
                      <a:pt x="187" y="563"/>
                      <a:pt x="187" y="563"/>
                    </a:cubicBezTo>
                    <a:cubicBezTo>
                      <a:pt x="180" y="589"/>
                      <a:pt x="170" y="615"/>
                      <a:pt x="158" y="640"/>
                    </a:cubicBezTo>
                    <a:cubicBezTo>
                      <a:pt x="151" y="656"/>
                      <a:pt x="144" y="671"/>
                      <a:pt x="138" y="688"/>
                    </a:cubicBezTo>
                    <a:cubicBezTo>
                      <a:pt x="130" y="706"/>
                      <a:pt x="127" y="725"/>
                      <a:pt x="129" y="745"/>
                    </a:cubicBezTo>
                    <a:cubicBezTo>
                      <a:pt x="136" y="775"/>
                      <a:pt x="153" y="802"/>
                      <a:pt x="178" y="821"/>
                    </a:cubicBezTo>
                    <a:cubicBezTo>
                      <a:pt x="195" y="836"/>
                      <a:pt x="206" y="847"/>
                      <a:pt x="206" y="856"/>
                    </a:cubicBezTo>
                    <a:cubicBezTo>
                      <a:pt x="205" y="862"/>
                      <a:pt x="203" y="867"/>
                      <a:pt x="200" y="871"/>
                    </a:cubicBezTo>
                    <a:cubicBezTo>
                      <a:pt x="159" y="957"/>
                      <a:pt x="109" y="1039"/>
                      <a:pt x="51" y="1114"/>
                    </a:cubicBezTo>
                    <a:cubicBezTo>
                      <a:pt x="26" y="1144"/>
                      <a:pt x="0" y="1179"/>
                      <a:pt x="6" y="1214"/>
                    </a:cubicBezTo>
                    <a:cubicBezTo>
                      <a:pt x="13" y="1241"/>
                      <a:pt x="31" y="1265"/>
                      <a:pt x="55" y="1278"/>
                    </a:cubicBezTo>
                    <a:cubicBezTo>
                      <a:pt x="55" y="1278"/>
                      <a:pt x="55" y="1278"/>
                      <a:pt x="55" y="1278"/>
                    </a:cubicBezTo>
                    <a:cubicBezTo>
                      <a:pt x="67" y="1286"/>
                      <a:pt x="79" y="1293"/>
                      <a:pt x="91" y="1299"/>
                    </a:cubicBezTo>
                    <a:cubicBezTo>
                      <a:pt x="106" y="1306"/>
                      <a:pt x="130" y="1319"/>
                      <a:pt x="132" y="1328"/>
                    </a:cubicBezTo>
                    <a:cubicBezTo>
                      <a:pt x="134" y="1339"/>
                      <a:pt x="133" y="1352"/>
                      <a:pt x="128" y="1362"/>
                    </a:cubicBezTo>
                    <a:cubicBezTo>
                      <a:pt x="123" y="1373"/>
                      <a:pt x="118" y="1383"/>
                      <a:pt x="113" y="1391"/>
                    </a:cubicBezTo>
                    <a:cubicBezTo>
                      <a:pt x="101" y="1413"/>
                      <a:pt x="80" y="1450"/>
                      <a:pt x="111" y="1476"/>
                    </a:cubicBezTo>
                    <a:cubicBezTo>
                      <a:pt x="119" y="1482"/>
                      <a:pt x="131" y="1492"/>
                      <a:pt x="143" y="1501"/>
                    </a:cubicBezTo>
                    <a:cubicBezTo>
                      <a:pt x="134" y="1516"/>
                      <a:pt x="130" y="1533"/>
                      <a:pt x="132" y="1550"/>
                    </a:cubicBezTo>
                    <a:cubicBezTo>
                      <a:pt x="134" y="1564"/>
                      <a:pt x="141" y="1576"/>
                      <a:pt x="152" y="1584"/>
                    </a:cubicBezTo>
                    <a:cubicBezTo>
                      <a:pt x="160" y="1589"/>
                      <a:pt x="168" y="1594"/>
                      <a:pt x="176" y="1599"/>
                    </a:cubicBezTo>
                    <a:cubicBezTo>
                      <a:pt x="196" y="1610"/>
                      <a:pt x="204" y="1615"/>
                      <a:pt x="206" y="1626"/>
                    </a:cubicBezTo>
                    <a:cubicBezTo>
                      <a:pt x="208" y="1640"/>
                      <a:pt x="207" y="1654"/>
                      <a:pt x="203" y="1667"/>
                    </a:cubicBezTo>
                    <a:cubicBezTo>
                      <a:pt x="201" y="1676"/>
                      <a:pt x="199" y="1685"/>
                      <a:pt x="198" y="1694"/>
                    </a:cubicBezTo>
                    <a:cubicBezTo>
                      <a:pt x="194" y="1725"/>
                      <a:pt x="198" y="1757"/>
                      <a:pt x="209" y="1786"/>
                    </a:cubicBezTo>
                    <a:cubicBezTo>
                      <a:pt x="224" y="1841"/>
                      <a:pt x="273" y="1878"/>
                      <a:pt x="330" y="1879"/>
                    </a:cubicBezTo>
                    <a:cubicBezTo>
                      <a:pt x="339" y="1879"/>
                      <a:pt x="349" y="1878"/>
                      <a:pt x="358" y="1876"/>
                    </a:cubicBezTo>
                    <a:cubicBezTo>
                      <a:pt x="455" y="1853"/>
                      <a:pt x="551" y="1825"/>
                      <a:pt x="646" y="1790"/>
                    </a:cubicBezTo>
                    <a:cubicBezTo>
                      <a:pt x="722" y="1835"/>
                      <a:pt x="771" y="1973"/>
                      <a:pt x="784" y="2024"/>
                    </a:cubicBezTo>
                    <a:cubicBezTo>
                      <a:pt x="787" y="2039"/>
                      <a:pt x="801" y="2050"/>
                      <a:pt x="817" y="2050"/>
                    </a:cubicBezTo>
                    <a:cubicBezTo>
                      <a:pt x="1674" y="2048"/>
                      <a:pt x="1674" y="2048"/>
                      <a:pt x="1674" y="2048"/>
                    </a:cubicBezTo>
                    <a:cubicBezTo>
                      <a:pt x="1684" y="2048"/>
                      <a:pt x="1695" y="2042"/>
                      <a:pt x="1701" y="2034"/>
                    </a:cubicBezTo>
                    <a:cubicBezTo>
                      <a:pt x="1707" y="2025"/>
                      <a:pt x="1709" y="2014"/>
                      <a:pt x="1706" y="2003"/>
                    </a:cubicBezTo>
                    <a:cubicBezTo>
                      <a:pt x="1698" y="1980"/>
                      <a:pt x="1686" y="1958"/>
                      <a:pt x="1671" y="1938"/>
                    </a:cubicBezTo>
                    <a:cubicBezTo>
                      <a:pt x="1663" y="1927"/>
                      <a:pt x="1656" y="1914"/>
                      <a:pt x="1649" y="1901"/>
                    </a:cubicBezTo>
                    <a:cubicBezTo>
                      <a:pt x="1634" y="1870"/>
                      <a:pt x="1621" y="1838"/>
                      <a:pt x="1611" y="1804"/>
                    </a:cubicBezTo>
                    <a:cubicBezTo>
                      <a:pt x="1592" y="1739"/>
                      <a:pt x="1578" y="1672"/>
                      <a:pt x="1571" y="1605"/>
                    </a:cubicBezTo>
                    <a:moveTo>
                      <a:pt x="55" y="1278"/>
                    </a:moveTo>
                    <a:cubicBezTo>
                      <a:pt x="55" y="1278"/>
                      <a:pt x="55" y="1278"/>
                      <a:pt x="55" y="1278"/>
                    </a:cubicBezTo>
                  </a:path>
                </a:pathLst>
              </a:custGeom>
              <a:grpFill/>
              <a:ln w="19050" cap="flat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2" name="Freeform 76">
                <a:extLst>
                  <a:ext uri="{FF2B5EF4-FFF2-40B4-BE49-F238E27FC236}">
                    <a16:creationId xmlns:a16="http://schemas.microsoft.com/office/drawing/2014/main" id="{EE4A5306-AC2E-4CCC-B70F-1E89A286626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04" y="440"/>
                <a:ext cx="678" cy="846"/>
              </a:xfrm>
              <a:custGeom>
                <a:avLst/>
                <a:gdLst>
                  <a:gd name="T0" fmla="*/ 324 w 324"/>
                  <a:gd name="T1" fmla="*/ 0 h 404"/>
                  <a:gd name="T2" fmla="*/ 137 w 324"/>
                  <a:gd name="T3" fmla="*/ 105 h 404"/>
                  <a:gd name="T4" fmla="*/ 29 w 324"/>
                  <a:gd name="T5" fmla="*/ 282 h 404"/>
                  <a:gd name="T6" fmla="*/ 3 w 324"/>
                  <a:gd name="T7" fmla="*/ 374 h 404"/>
                  <a:gd name="T8" fmla="*/ 0 w 324"/>
                  <a:gd name="T9" fmla="*/ 389 h 404"/>
                  <a:gd name="T10" fmla="*/ 66 w 324"/>
                  <a:gd name="T11" fmla="*/ 404 h 404"/>
                  <a:gd name="T12" fmla="*/ 66 w 324"/>
                  <a:gd name="T13" fmla="*/ 404 h 4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24" h="404">
                    <a:moveTo>
                      <a:pt x="324" y="0"/>
                    </a:moveTo>
                    <a:cubicBezTo>
                      <a:pt x="253" y="18"/>
                      <a:pt x="189" y="54"/>
                      <a:pt x="137" y="105"/>
                    </a:cubicBezTo>
                    <a:cubicBezTo>
                      <a:pt x="89" y="156"/>
                      <a:pt x="52" y="216"/>
                      <a:pt x="29" y="282"/>
                    </a:cubicBezTo>
                    <a:cubicBezTo>
                      <a:pt x="18" y="312"/>
                      <a:pt x="10" y="343"/>
                      <a:pt x="3" y="374"/>
                    </a:cubicBezTo>
                    <a:cubicBezTo>
                      <a:pt x="0" y="389"/>
                      <a:pt x="0" y="389"/>
                      <a:pt x="0" y="389"/>
                    </a:cubicBezTo>
                    <a:moveTo>
                      <a:pt x="66" y="404"/>
                    </a:moveTo>
                    <a:cubicBezTo>
                      <a:pt x="66" y="404"/>
                      <a:pt x="66" y="404"/>
                      <a:pt x="66" y="404"/>
                    </a:cubicBezTo>
                  </a:path>
                </a:pathLst>
              </a:custGeom>
              <a:grpFill/>
              <a:ln w="19050" cap="flat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3" name="Line 77">
                <a:extLst>
                  <a:ext uri="{FF2B5EF4-FFF2-40B4-BE49-F238E27FC236}">
                    <a16:creationId xmlns:a16="http://schemas.microsoft.com/office/drawing/2014/main" id="{0A0202F5-FF0D-4FCD-9A84-1FC365C36AB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658" y="1517"/>
                <a:ext cx="0" cy="0"/>
              </a:xfrm>
              <a:prstGeom prst="line">
                <a:avLst/>
              </a:prstGeom>
              <a:grpFill/>
              <a:ln w="19050" cap="flat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4" name="Line 78">
                <a:extLst>
                  <a:ext uri="{FF2B5EF4-FFF2-40B4-BE49-F238E27FC236}">
                    <a16:creationId xmlns:a16="http://schemas.microsoft.com/office/drawing/2014/main" id="{D84F1AD8-FA82-48BC-87C0-6A1654ADC70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616" y="2852"/>
                <a:ext cx="498" cy="0"/>
              </a:xfrm>
              <a:prstGeom prst="line">
                <a:avLst/>
              </a:prstGeom>
              <a:grpFill/>
              <a:ln w="19050" cap="rnd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5" name="Line 79">
                <a:extLst>
                  <a:ext uri="{FF2B5EF4-FFF2-40B4-BE49-F238E27FC236}">
                    <a16:creationId xmlns:a16="http://schemas.microsoft.com/office/drawing/2014/main" id="{35787F0C-E821-4049-B4C1-6D0D9AA8B054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616" y="3101"/>
                <a:ext cx="498" cy="0"/>
              </a:xfrm>
              <a:prstGeom prst="line">
                <a:avLst/>
              </a:prstGeom>
              <a:grpFill/>
              <a:ln w="19050" cap="rnd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6" name="Freeform 80">
                <a:extLst>
                  <a:ext uri="{FF2B5EF4-FFF2-40B4-BE49-F238E27FC236}">
                    <a16:creationId xmlns:a16="http://schemas.microsoft.com/office/drawing/2014/main" id="{AB662EA1-4667-4EF9-A409-BCDB20B199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85" y="232"/>
                <a:ext cx="1751" cy="2372"/>
              </a:xfrm>
              <a:custGeom>
                <a:avLst/>
                <a:gdLst>
                  <a:gd name="T0" fmla="*/ 836 w 836"/>
                  <a:gd name="T1" fmla="*/ 419 h 1132"/>
                  <a:gd name="T2" fmla="*/ 413 w 836"/>
                  <a:gd name="T3" fmla="*/ 4 h 1132"/>
                  <a:gd name="T4" fmla="*/ 5 w 836"/>
                  <a:gd name="T5" fmla="*/ 404 h 1132"/>
                  <a:gd name="T6" fmla="*/ 173 w 836"/>
                  <a:gd name="T7" fmla="*/ 753 h 1132"/>
                  <a:gd name="T8" fmla="*/ 242 w 836"/>
                  <a:gd name="T9" fmla="*/ 893 h 1132"/>
                  <a:gd name="T10" fmla="*/ 242 w 836"/>
                  <a:gd name="T11" fmla="*/ 1057 h 1132"/>
                  <a:gd name="T12" fmla="*/ 301 w 836"/>
                  <a:gd name="T13" fmla="*/ 1132 h 1132"/>
                  <a:gd name="T14" fmla="*/ 539 w 836"/>
                  <a:gd name="T15" fmla="*/ 1132 h 1132"/>
                  <a:gd name="T16" fmla="*/ 598 w 836"/>
                  <a:gd name="T17" fmla="*/ 1072 h 1132"/>
                  <a:gd name="T18" fmla="*/ 598 w 836"/>
                  <a:gd name="T19" fmla="*/ 893 h 1132"/>
                  <a:gd name="T20" fmla="*/ 665 w 836"/>
                  <a:gd name="T21" fmla="*/ 754 h 1132"/>
                  <a:gd name="T22" fmla="*/ 836 w 836"/>
                  <a:gd name="T23" fmla="*/ 419 h 1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36" h="1132">
                    <a:moveTo>
                      <a:pt x="836" y="419"/>
                    </a:moveTo>
                    <a:cubicBezTo>
                      <a:pt x="836" y="187"/>
                      <a:pt x="646" y="0"/>
                      <a:pt x="413" y="4"/>
                    </a:cubicBezTo>
                    <a:cubicBezTo>
                      <a:pt x="196" y="7"/>
                      <a:pt x="13" y="187"/>
                      <a:pt x="5" y="404"/>
                    </a:cubicBezTo>
                    <a:cubicBezTo>
                      <a:pt x="0" y="547"/>
                      <a:pt x="67" y="675"/>
                      <a:pt x="173" y="753"/>
                    </a:cubicBezTo>
                    <a:cubicBezTo>
                      <a:pt x="218" y="786"/>
                      <a:pt x="242" y="838"/>
                      <a:pt x="242" y="893"/>
                    </a:cubicBezTo>
                    <a:cubicBezTo>
                      <a:pt x="242" y="1057"/>
                      <a:pt x="242" y="1057"/>
                      <a:pt x="242" y="1057"/>
                    </a:cubicBezTo>
                    <a:cubicBezTo>
                      <a:pt x="242" y="1105"/>
                      <a:pt x="269" y="1132"/>
                      <a:pt x="301" y="1132"/>
                    </a:cubicBezTo>
                    <a:cubicBezTo>
                      <a:pt x="539" y="1132"/>
                      <a:pt x="539" y="1132"/>
                      <a:pt x="539" y="1132"/>
                    </a:cubicBezTo>
                    <a:cubicBezTo>
                      <a:pt x="572" y="1132"/>
                      <a:pt x="598" y="1105"/>
                      <a:pt x="598" y="1072"/>
                    </a:cubicBezTo>
                    <a:cubicBezTo>
                      <a:pt x="598" y="893"/>
                      <a:pt x="598" y="893"/>
                      <a:pt x="598" y="893"/>
                    </a:cubicBezTo>
                    <a:cubicBezTo>
                      <a:pt x="598" y="839"/>
                      <a:pt x="621" y="786"/>
                      <a:pt x="665" y="754"/>
                    </a:cubicBezTo>
                    <a:cubicBezTo>
                      <a:pt x="768" y="679"/>
                      <a:pt x="836" y="557"/>
                      <a:pt x="836" y="419"/>
                    </a:cubicBezTo>
                    <a:close/>
                  </a:path>
                </a:pathLst>
              </a:custGeom>
              <a:grpFill/>
              <a:ln w="19050" cap="rnd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7" name="Line 81">
                <a:extLst>
                  <a:ext uri="{FF2B5EF4-FFF2-40B4-BE49-F238E27FC236}">
                    <a16:creationId xmlns:a16="http://schemas.microsoft.com/office/drawing/2014/main" id="{FCC692B4-058E-48C7-9FE7-24B54407855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865" y="1483"/>
                <a:ext cx="0" cy="1121"/>
              </a:xfrm>
              <a:prstGeom prst="line">
                <a:avLst/>
              </a:prstGeom>
              <a:grpFill/>
              <a:ln w="19050" cap="rnd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8" name="Line 82">
                <a:extLst>
                  <a:ext uri="{FF2B5EF4-FFF2-40B4-BE49-F238E27FC236}">
                    <a16:creationId xmlns:a16="http://schemas.microsoft.com/office/drawing/2014/main" id="{223048BF-0CC8-43A9-88E6-E625D68DFC97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616" y="1236"/>
                <a:ext cx="249" cy="247"/>
              </a:xfrm>
              <a:prstGeom prst="line">
                <a:avLst/>
              </a:prstGeom>
              <a:grpFill/>
              <a:ln w="19050" cap="rnd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19" name="Line 83">
                <a:extLst>
                  <a:ext uri="{FF2B5EF4-FFF2-40B4-BE49-F238E27FC236}">
                    <a16:creationId xmlns:a16="http://schemas.microsoft.com/office/drawing/2014/main" id="{1160631C-91DA-45DC-BC23-DD01C292070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4865" y="1236"/>
                <a:ext cx="249" cy="247"/>
              </a:xfrm>
              <a:prstGeom prst="line">
                <a:avLst/>
              </a:prstGeom>
              <a:grpFill/>
              <a:ln w="19050" cap="rnd">
                <a:solidFill>
                  <a:schemeClr val="tx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pic>
        <p:nvPicPr>
          <p:cNvPr id="3" name="Graphic 2" descr="Heart with pulse">
            <a:extLst>
              <a:ext uri="{FF2B5EF4-FFF2-40B4-BE49-F238E27FC236}">
                <a16:creationId xmlns:a16="http://schemas.microsoft.com/office/drawing/2014/main" id="{CFA81B3E-7526-4551-A175-036D4B18245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900139" y="1552877"/>
            <a:ext cx="1100363" cy="1100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66953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nxVe_4j.Q6eZDUxE.4g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52hb9WDlXLdt_Xkw2WZ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nxVe_4j.Q6eZDUxE.4g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nxVe_4j.Q6eZDUxE.4g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52hb9WDlXLdt_Xkw2WZ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04oOJQ4MwSF7dCoBZhK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04oOJQ4MwSF7dCoBZhK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G3ygldpp7KrqE77Ne.6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G3ygldpp7KrqE77Ne.6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71HMP7fNoYDxlK3KovN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36x1reOPPsKzs3Hbzff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52hb9WDlXLdt_Xkw2WZ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G3ygldpp7KrqE77Ne.6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G3ygldpp7KrqE77Ne.6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71HMP7fNoYDxlK3KovN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36x1reOPPsKzs3HbzffA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nxVe_4j.Q6eZDUxE.4g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nxVe_4j.Q6eZDUxE.4gw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52hb9WDlXLdt_Xkw2WZ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36x1reOPPsKzs3HbzffA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52hb9WDlXLdt_Xkw2WZ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04oOJQ4MwSF7dCoBZhK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G3ygldpp7KrqE77Ne.6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G3ygldpp7KrqE77Ne.6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71HMP7fNoYDxlK3KovN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36x1reOPPsKzs3Hbzff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jqcHVlVTZYOruMkoQoog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G3ygldpp7KrqE77Ne.6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nxVe_4j.Q6eZDUxE.4gw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nxVe_4j.Q6eZDUxE.4gw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Ul35ef79utSlUr1jbcf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lBiS.Be1akW5K0zHO2RQ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lBiS.Be1akW5K0zHO2RQ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lBiS.Be1akW5K0zHO2RQ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lBiS.Be1akW5K0zHO2R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36x1reOPPsKzs3Hbzff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dUBLkF.ir74OQSEUMF9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PSOS - Classical Template - 16x9">
  <a:themeElements>
    <a:clrScheme name="Custom 114">
      <a:dk1>
        <a:srgbClr val="000000"/>
      </a:dk1>
      <a:lt1>
        <a:srgbClr val="FFFFFF"/>
      </a:lt1>
      <a:dk2>
        <a:srgbClr val="009D9C"/>
      </a:dk2>
      <a:lt2>
        <a:srgbClr val="2F469C"/>
      </a:lt2>
      <a:accent1>
        <a:srgbClr val="002554"/>
      </a:accent1>
      <a:accent2>
        <a:srgbClr val="F1BE48"/>
      </a:accent2>
      <a:accent3>
        <a:srgbClr val="E87722"/>
      </a:accent3>
      <a:accent4>
        <a:srgbClr val="84329B"/>
      </a:accent4>
      <a:accent5>
        <a:srgbClr val="E4C7EC"/>
      </a:accent5>
      <a:accent6>
        <a:srgbClr val="65478F"/>
      </a:accent6>
      <a:hlink>
        <a:srgbClr val="0563C1"/>
      </a:hlink>
      <a:folHlink>
        <a:srgbClr val="954F72"/>
      </a:folHlink>
    </a:clrScheme>
    <a:fontScheme name="Personnalisé 80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IPSOS - Classical Template - 16x9">
  <a:themeElements>
    <a:clrScheme name="Personnalisé 183">
      <a:dk1>
        <a:sysClr val="windowText" lastClr="000000"/>
      </a:dk1>
      <a:lt1>
        <a:sysClr val="window" lastClr="FFFFFF"/>
      </a:lt1>
      <a:dk2>
        <a:srgbClr val="009D9C"/>
      </a:dk2>
      <a:lt2>
        <a:srgbClr val="2F469C"/>
      </a:lt2>
      <a:accent1>
        <a:srgbClr val="002554"/>
      </a:accent1>
      <a:accent2>
        <a:srgbClr val="F1BE48"/>
      </a:accent2>
      <a:accent3>
        <a:srgbClr val="E87722"/>
      </a:accent3>
      <a:accent4>
        <a:srgbClr val="84329B"/>
      </a:accent4>
      <a:accent5>
        <a:srgbClr val="E4C7EC"/>
      </a:accent5>
      <a:accent6>
        <a:srgbClr val="BEDBFF"/>
      </a:accent6>
      <a:hlink>
        <a:srgbClr val="0563C1"/>
      </a:hlink>
      <a:folHlink>
        <a:srgbClr val="954F72"/>
      </a:folHlink>
    </a:clrScheme>
    <a:fontScheme name="Personnalisé 80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IPSOS - Classical Template - 16x9">
  <a:themeElements>
    <a:clrScheme name="Custom 114">
      <a:dk1>
        <a:srgbClr val="000000"/>
      </a:dk1>
      <a:lt1>
        <a:srgbClr val="FFFFFF"/>
      </a:lt1>
      <a:dk2>
        <a:srgbClr val="009D9C"/>
      </a:dk2>
      <a:lt2>
        <a:srgbClr val="2F469C"/>
      </a:lt2>
      <a:accent1>
        <a:srgbClr val="002554"/>
      </a:accent1>
      <a:accent2>
        <a:srgbClr val="F1BE48"/>
      </a:accent2>
      <a:accent3>
        <a:srgbClr val="E87722"/>
      </a:accent3>
      <a:accent4>
        <a:srgbClr val="84329B"/>
      </a:accent4>
      <a:accent5>
        <a:srgbClr val="E4C7EC"/>
      </a:accent5>
      <a:accent6>
        <a:srgbClr val="65478F"/>
      </a:accent6>
      <a:hlink>
        <a:srgbClr val="0563C1"/>
      </a:hlink>
      <a:folHlink>
        <a:srgbClr val="954F72"/>
      </a:folHlink>
    </a:clrScheme>
    <a:fontScheme name="Personnalisé 80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IPSOS - Classical Template - 16x9">
  <a:themeElements>
    <a:clrScheme name="Custom 161">
      <a:dk1>
        <a:srgbClr val="000000"/>
      </a:dk1>
      <a:lt1>
        <a:srgbClr val="FFFFFF"/>
      </a:lt1>
      <a:dk2>
        <a:srgbClr val="009D9C"/>
      </a:dk2>
      <a:lt2>
        <a:srgbClr val="2F469C"/>
      </a:lt2>
      <a:accent1>
        <a:srgbClr val="002554"/>
      </a:accent1>
      <a:accent2>
        <a:srgbClr val="F1BE48"/>
      </a:accent2>
      <a:accent3>
        <a:srgbClr val="E87722"/>
      </a:accent3>
      <a:accent4>
        <a:srgbClr val="84329B"/>
      </a:accent4>
      <a:accent5>
        <a:srgbClr val="65468F"/>
      </a:accent5>
      <a:accent6>
        <a:srgbClr val="BEDBFF"/>
      </a:accent6>
      <a:hlink>
        <a:srgbClr val="0563C1"/>
      </a:hlink>
      <a:folHlink>
        <a:srgbClr val="954F72"/>
      </a:folHlink>
    </a:clrScheme>
    <a:fontScheme name="Personnalisé 80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5_IPSOS - Classical Template - 16x9">
  <a:themeElements>
    <a:clrScheme name="Custom 161">
      <a:dk1>
        <a:srgbClr val="000000"/>
      </a:dk1>
      <a:lt1>
        <a:srgbClr val="FFFFFF"/>
      </a:lt1>
      <a:dk2>
        <a:srgbClr val="009D9C"/>
      </a:dk2>
      <a:lt2>
        <a:srgbClr val="2F469C"/>
      </a:lt2>
      <a:accent1>
        <a:srgbClr val="002554"/>
      </a:accent1>
      <a:accent2>
        <a:srgbClr val="F1BE48"/>
      </a:accent2>
      <a:accent3>
        <a:srgbClr val="E87722"/>
      </a:accent3>
      <a:accent4>
        <a:srgbClr val="84329B"/>
      </a:accent4>
      <a:accent5>
        <a:srgbClr val="65468F"/>
      </a:accent5>
      <a:accent6>
        <a:srgbClr val="BEDBFF"/>
      </a:accent6>
      <a:hlink>
        <a:srgbClr val="0563C1"/>
      </a:hlink>
      <a:folHlink>
        <a:srgbClr val="954F72"/>
      </a:folHlink>
    </a:clrScheme>
    <a:fontScheme name="Personnalisé 80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bd1db531-50b4-41fd-9904-502bf36d193b">
      <UserInfo>
        <DisplayName>Creative Excellence Leadership Team Owners</DisplayName>
        <AccountId>3</AccountId>
        <AccountType/>
      </UserInfo>
      <UserInfo>
        <DisplayName>Diana Dr. Livadic</DisplayName>
        <AccountId>42</AccountId>
        <AccountType/>
      </UserInfo>
      <UserInfo>
        <DisplayName>Jill Urlage</DisplayName>
        <AccountId>22</AccountId>
        <AccountType/>
      </UserInfo>
      <UserInfo>
        <DisplayName>Shaun Dix</DisplayName>
        <AccountId>13</AccountId>
        <AccountType/>
      </UserInfo>
      <UserInfo>
        <DisplayName>Louise Harrison</DisplayName>
        <AccountId>14</AccountId>
        <AccountType/>
      </UserInfo>
      <UserInfo>
        <DisplayName>Jemma Lightfoot</DisplayName>
        <AccountId>66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43ADBA14628BF47A90957CAE075B409" ma:contentTypeVersion="12" ma:contentTypeDescription="Create a new document." ma:contentTypeScope="" ma:versionID="e5da6fb7e167f53eabf6223356372dbb">
  <xsd:schema xmlns:xsd="http://www.w3.org/2001/XMLSchema" xmlns:xs="http://www.w3.org/2001/XMLSchema" xmlns:p="http://schemas.microsoft.com/office/2006/metadata/properties" xmlns:ns2="9889e0ac-914b-45d2-a9c2-ab4bc5bdd27c" xmlns:ns3="bd1db531-50b4-41fd-9904-502bf36d193b" targetNamespace="http://schemas.microsoft.com/office/2006/metadata/properties" ma:root="true" ma:fieldsID="e4e4dff47e8151cfbdb280bd6309c344" ns2:_="" ns3:_="">
    <xsd:import namespace="9889e0ac-914b-45d2-a9c2-ab4bc5bdd27c"/>
    <xsd:import namespace="bd1db531-50b4-41fd-9904-502bf36d193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DateTaken" minOccurs="0"/>
                <xsd:element ref="ns2:MediaServiceLocatio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89e0ac-914b-45d2-a9c2-ab4bc5bdd27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d1db531-50b4-41fd-9904-502bf36d193b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85841FA-E815-4BD2-886D-C0B05AF4588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8471E57-5376-47CE-B22A-BFC393BD90EE}">
  <ds:schemaRefs>
    <ds:schemaRef ds:uri="bd1db531-50b4-41fd-9904-502bf36d193b"/>
    <ds:schemaRef ds:uri="http://purl.org/dc/elements/1.1/"/>
    <ds:schemaRef ds:uri="http://schemas.microsoft.com/office/2006/metadata/properties"/>
    <ds:schemaRef ds:uri="9889e0ac-914b-45d2-a9c2-ab4bc5bdd27c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547A4488-797C-4DE8-A808-4285A635409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889e0ac-914b-45d2-a9c2-ab4bc5bdd27c"/>
    <ds:schemaRef ds:uri="bd1db531-50b4-41fd-9904-502bf36d193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650</TotalTime>
  <Words>298</Words>
  <Application>Microsoft Office PowerPoint</Application>
  <PresentationFormat>Widescreen</PresentationFormat>
  <Paragraphs>47</Paragraphs>
  <Slides>8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2" baseType="lpstr">
      <vt:lpstr>Arial</vt:lpstr>
      <vt:lpstr>Arial Black</vt:lpstr>
      <vt:lpstr>Calibri</vt:lpstr>
      <vt:lpstr>Century Gothic</vt:lpstr>
      <vt:lpstr>HelveticaNeueLT Std Lt Cn</vt:lpstr>
      <vt:lpstr>Montserrat</vt:lpstr>
      <vt:lpstr>Montserrat Black</vt:lpstr>
      <vt:lpstr>Montserrat Light</vt:lpstr>
      <vt:lpstr>IPSOS - Classical Template - 16x9</vt:lpstr>
      <vt:lpstr>1_IPSOS - Classical Template - 16x9</vt:lpstr>
      <vt:lpstr>3_IPSOS - Classical Template - 16x9</vt:lpstr>
      <vt:lpstr>4_IPSOS - Classical Template - 16x9</vt:lpstr>
      <vt:lpstr>5_IPSOS - Classical Template - 16x9</vt:lpstr>
      <vt:lpstr>Diapositive think-cell</vt:lpstr>
      <vt:lpstr>respect context or fai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Respect context or fail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CONIC</dc:title>
  <dc:creator>Musedsmh</dc:creator>
  <cp:lastModifiedBy>Jemma Lightfoot</cp:lastModifiedBy>
  <cp:revision>128</cp:revision>
  <cp:lastPrinted>2020-09-16T22:57:42Z</cp:lastPrinted>
  <dcterms:created xsi:type="dcterms:W3CDTF">2017-01-10T11:09:36Z</dcterms:created>
  <dcterms:modified xsi:type="dcterms:W3CDTF">2020-09-16T23:48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43ADBA14628BF47A90957CAE075B409</vt:lpwstr>
  </property>
  <property fmtid="{D5CDD505-2E9C-101B-9397-08002B2CF9AE}" pid="3" name="Where">
    <vt:lpwstr>16;#Global|46e14ad4-d9c3-45fc-a8a9-35e691cbdc31</vt:lpwstr>
  </property>
  <property fmtid="{D5CDD505-2E9C-101B-9397-08002B2CF9AE}" pid="4" name="DocumentType">
    <vt:lpwstr>34;#Template|7409fbd1-57b1-411c-a217-1ffd0512329c</vt:lpwstr>
  </property>
</Properties>
</file>